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6"/>
  </p:notesMasterIdLst>
  <p:handoutMasterIdLst>
    <p:handoutMasterId r:id="rId27"/>
  </p:handoutMasterIdLst>
  <p:sldIdLst>
    <p:sldId id="257" r:id="rId2"/>
    <p:sldId id="258" r:id="rId3"/>
    <p:sldId id="260" r:id="rId4"/>
    <p:sldId id="267" r:id="rId5"/>
    <p:sldId id="268" r:id="rId6"/>
    <p:sldId id="270" r:id="rId7"/>
    <p:sldId id="287" r:id="rId8"/>
    <p:sldId id="290" r:id="rId9"/>
    <p:sldId id="288" r:id="rId10"/>
    <p:sldId id="274" r:id="rId11"/>
    <p:sldId id="285" r:id="rId12"/>
    <p:sldId id="286" r:id="rId13"/>
    <p:sldId id="276" r:id="rId14"/>
    <p:sldId id="280" r:id="rId15"/>
    <p:sldId id="291" r:id="rId16"/>
    <p:sldId id="281" r:id="rId17"/>
    <p:sldId id="277" r:id="rId18"/>
    <p:sldId id="282" r:id="rId19"/>
    <p:sldId id="283" r:id="rId20"/>
    <p:sldId id="284" r:id="rId21"/>
    <p:sldId id="292" r:id="rId22"/>
    <p:sldId id="269" r:id="rId23"/>
    <p:sldId id="261" r:id="rId24"/>
    <p:sldId id="293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6989159225097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3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3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593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6787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9679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161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9227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3765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78209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487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0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30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253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661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8929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166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200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13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3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13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DC039-05F6-F267-929F-9EDF982983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18BEE-0A69-1FCA-5324-D1959F068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A2466-46E4-2740-8A8D-B120AAD93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208999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US" dirty="0"/>
              <a:t>Proposed Automation Pla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E4518-8261-D1DD-B467-9B7C7B5F5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90069110-3FC5-036B-59FC-664410249D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583F27-3CC6-6350-6D09-64FB79B1A1A2}"/>
              </a:ext>
            </a:extLst>
          </p:cNvPr>
          <p:cNvSpPr txBox="1"/>
          <p:nvPr/>
        </p:nvSpPr>
        <p:spPr>
          <a:xfrm>
            <a:off x="799879" y="1124744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>
              <a:buClr>
                <a:srgbClr val="97C139"/>
              </a:buClr>
            </a:pPr>
            <a:r>
              <a:rPr lang="en-US" sz="1600" b="1" kern="1200" dirty="0"/>
              <a:t>Goal</a:t>
            </a:r>
            <a:r>
              <a:rPr lang="en-US" sz="1600" kern="1200" dirty="0"/>
              <a:t>: Automate slot liner insertion for small-scale, high-variant motor production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Approach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Develop a </a:t>
            </a:r>
            <a:r>
              <a:rPr lang="en-US" sz="1600" b="1" kern="1200" dirty="0"/>
              <a:t>parametric tool</a:t>
            </a:r>
            <a:r>
              <a:rPr lang="en-US" sz="1600" kern="1200" dirty="0"/>
              <a:t> adaptable to different stator sizes and shapes.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tegrate with a collaborative robot setup (UR10e, gripper, FT sensor).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Workflow Concept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Slot liner positioning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Orientation with funnel/clamp system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Automated insertion with robotic guidance</a:t>
            </a:r>
          </a:p>
          <a:p>
            <a:pPr>
              <a:buClr>
                <a:srgbClr val="97C139"/>
              </a:buClr>
            </a:pPr>
            <a:r>
              <a:rPr lang="en-US" sz="1600" b="1" kern="1200" dirty="0"/>
              <a:t>Expected Benefits</a:t>
            </a:r>
            <a:r>
              <a:rPr lang="en-US" sz="1600" kern="1200" dirty="0"/>
              <a:t>: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Increased precision and repeatability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Reduced labor intensity and errors</a:t>
            </a:r>
          </a:p>
          <a:p>
            <a:pPr>
              <a:buClr>
                <a:srgbClr val="97C139"/>
              </a:buClr>
            </a:pPr>
            <a:r>
              <a:rPr lang="en-US" sz="1600" kern="12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US" kern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060BDA-432B-F649-3572-23DA9A5825CA}"/>
              </a:ext>
            </a:extLst>
          </p:cNvPr>
          <p:cNvSpPr txBox="1"/>
          <p:nvPr/>
        </p:nvSpPr>
        <p:spPr>
          <a:xfrm>
            <a:off x="9336360" y="5587125"/>
            <a:ext cx="3168352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Automated insertion of 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09430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Provides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4AD0A9-F402-28FA-C210-DFEA73139A88}"/>
              </a:ext>
            </a:extLst>
          </p:cNvPr>
          <p:cNvSpPr txBox="1"/>
          <p:nvPr/>
        </p:nvSpPr>
        <p:spPr>
          <a:xfrm>
            <a:off x="9048328" y="6093296"/>
            <a:ext cx="1728192" cy="307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ource: UR robots [5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333043-26FE-BCF4-0278-0770E5DA36FE}"/>
              </a:ext>
            </a:extLst>
          </p:cNvPr>
          <p:cNvGrpSpPr/>
          <p:nvPr/>
        </p:nvGrpSpPr>
        <p:grpSpPr>
          <a:xfrm>
            <a:off x="479376" y="1049410"/>
            <a:ext cx="6881158" cy="2221229"/>
            <a:chOff x="970817" y="851535"/>
            <a:chExt cx="6881158" cy="222122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5E60C4-4FBA-70E0-21CD-68BF62817D4E}"/>
                </a:ext>
              </a:extLst>
            </p:cNvPr>
            <p:cNvSpPr/>
            <p:nvPr/>
          </p:nvSpPr>
          <p:spPr>
            <a:xfrm>
              <a:off x="970817" y="851535"/>
              <a:ext cx="4320481" cy="46103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34DC51E-5C1C-9E9A-20CA-385EB23426C1}"/>
                </a:ext>
              </a:extLst>
            </p:cNvPr>
            <p:cNvGrpSpPr/>
            <p:nvPr/>
          </p:nvGrpSpPr>
          <p:grpSpPr>
            <a:xfrm>
              <a:off x="970817" y="856870"/>
              <a:ext cx="6881158" cy="2215894"/>
              <a:chOff x="970817" y="836613"/>
              <a:chExt cx="6881158" cy="221589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0302145-7E04-56E6-0660-17EDC5E3D570}"/>
                  </a:ext>
                </a:extLst>
              </p:cNvPr>
              <p:cNvGrpSpPr/>
              <p:nvPr/>
            </p:nvGrpSpPr>
            <p:grpSpPr>
              <a:xfrm>
                <a:off x="970817" y="836613"/>
                <a:ext cx="6881158" cy="2215894"/>
                <a:chOff x="993476" y="851535"/>
                <a:chExt cx="6881158" cy="2215894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77066EB6-427C-8337-F775-25D34C9715E3}"/>
                    </a:ext>
                  </a:extLst>
                </p:cNvPr>
                <p:cNvGrpSpPr/>
                <p:nvPr/>
              </p:nvGrpSpPr>
              <p:grpSpPr>
                <a:xfrm>
                  <a:off x="993476" y="1169637"/>
                  <a:ext cx="4348510" cy="1897792"/>
                  <a:chOff x="967047" y="1169637"/>
                  <a:chExt cx="4348510" cy="1897792"/>
                </a:xfrm>
              </p:grpSpPr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0ADC494C-AD81-5163-4A7B-7FEE3C082E0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4470" y="1354003"/>
                    <a:ext cx="4261087" cy="36004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algn="ctr">
                      <a:buClr>
                        <a:srgbClr val="97C139"/>
                      </a:buClr>
                    </a:pPr>
                    <a:r>
                      <a:rPr lang="en-US" b="1" u="sng" dirty="0"/>
                      <a:t>Rotating Mechanical Clamp</a:t>
                    </a:r>
                    <a:endParaRPr lang="en-IN" b="1" u="sng" dirty="0" err="1"/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45BD6CA-DC11-8DDA-6E24-CAE0BA0BBEE9}"/>
                      </a:ext>
                    </a:extLst>
                  </p:cNvPr>
                  <p:cNvSpPr/>
                  <p:nvPr/>
                </p:nvSpPr>
                <p:spPr>
                  <a:xfrm>
                    <a:off x="967047" y="1169637"/>
                    <a:ext cx="4320481" cy="1897792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3" name="Picture 22" descr="A machine with a circular object&#10;&#10;AI-generated content may be incorrect.">
                  <a:extLst>
                    <a:ext uri="{FF2B5EF4-FFF2-40B4-BE49-F238E27FC236}">
                      <a16:creationId xmlns:a16="http://schemas.microsoft.com/office/drawing/2014/main" id="{E5ED99AB-1422-DAB6-196C-61C5661EDF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647" t="36409" r="11580" b="17972"/>
                <a:stretch>
                  <a:fillRect/>
                </a:stretch>
              </p:blipFill>
              <p:spPr bwMode="auto">
                <a:xfrm>
                  <a:off x="5282346" y="851535"/>
                  <a:ext cx="2592288" cy="221589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079677-0229-3A0C-3A7F-0F9729E3B013}"/>
                  </a:ext>
                </a:extLst>
              </p:cNvPr>
              <p:cNvSpPr txBox="1"/>
              <p:nvPr/>
            </p:nvSpPr>
            <p:spPr>
              <a:xfrm>
                <a:off x="1011003" y="881774"/>
                <a:ext cx="4261087" cy="3600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Rotating Mechanical Clamp</a:t>
                </a:r>
                <a:endParaRPr lang="en-IN" b="1" u="sng" dirty="0" err="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94B1F8-CCC1-497C-CDBB-2DCC3E0146DE}"/>
              </a:ext>
            </a:extLst>
          </p:cNvPr>
          <p:cNvGrpSpPr/>
          <p:nvPr/>
        </p:nvGrpSpPr>
        <p:grpSpPr>
          <a:xfrm>
            <a:off x="4827886" y="3587362"/>
            <a:ext cx="6912767" cy="2376264"/>
            <a:chOff x="4858128" y="3581701"/>
            <a:chExt cx="6912767" cy="22215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F80635D-C310-7BA1-4CB6-BF6AB56A0358}"/>
                </a:ext>
              </a:extLst>
            </p:cNvPr>
            <p:cNvGrpSpPr/>
            <p:nvPr/>
          </p:nvGrpSpPr>
          <p:grpSpPr>
            <a:xfrm>
              <a:off x="4858128" y="3581701"/>
              <a:ext cx="6912767" cy="2221554"/>
              <a:chOff x="2525752" y="3724364"/>
              <a:chExt cx="6912767" cy="222155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D690B22-BC1B-CED1-8CB0-09C7D178BFB4}"/>
                  </a:ext>
                </a:extLst>
              </p:cNvPr>
              <p:cNvGrpSpPr/>
              <p:nvPr/>
            </p:nvGrpSpPr>
            <p:grpSpPr>
              <a:xfrm>
                <a:off x="2525752" y="3730024"/>
                <a:ext cx="6912767" cy="2215894"/>
                <a:chOff x="2525753" y="3740075"/>
                <a:chExt cx="6912767" cy="2215894"/>
              </a:xfrm>
            </p:grpSpPr>
            <p:pic>
              <p:nvPicPr>
                <p:cNvPr id="15" name="Picture 14" descr="A machine with a mechanical arm&#10;&#10;AI-generated content may be incorrect.">
                  <a:extLst>
                    <a:ext uri="{FF2B5EF4-FFF2-40B4-BE49-F238E27FC236}">
                      <a16:creationId xmlns:a16="http://schemas.microsoft.com/office/drawing/2014/main" id="{E4640BBA-6672-97A8-A9B7-8733E68C1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95" t="1574" r="3869" b="24890"/>
                <a:stretch/>
              </p:blipFill>
              <p:spPr bwMode="auto">
                <a:xfrm>
                  <a:off x="2525753" y="3740075"/>
                  <a:ext cx="2592288" cy="2215894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E7C5AA2-E307-3821-33F9-9C06EC4BF624}"/>
                    </a:ext>
                  </a:extLst>
                </p:cNvPr>
                <p:cNvSpPr/>
                <p:nvPr/>
              </p:nvSpPr>
              <p:spPr>
                <a:xfrm>
                  <a:off x="5118039" y="4058177"/>
                  <a:ext cx="4320481" cy="189779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AE4F478-2883-EBE4-D27E-0F86ADEDBC62}"/>
                  </a:ext>
                </a:extLst>
              </p:cNvPr>
              <p:cNvSpPr/>
              <p:nvPr/>
            </p:nvSpPr>
            <p:spPr>
              <a:xfrm>
                <a:off x="5118038" y="3724364"/>
                <a:ext cx="4320481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4C6AED3-F402-5330-2882-FB29BA706B1F}"/>
                </a:ext>
              </a:extLst>
            </p:cNvPr>
            <p:cNvSpPr txBox="1"/>
            <p:nvPr/>
          </p:nvSpPr>
          <p:spPr>
            <a:xfrm>
              <a:off x="7450414" y="3645024"/>
              <a:ext cx="4320481" cy="3600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b="1" u="sng" dirty="0"/>
                <a:t>Slot Liner and Funnel Positioning Platforms</a:t>
              </a:r>
              <a:endParaRPr lang="en-IN" b="1" u="sng" dirty="0" err="1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566799" y="1510443"/>
            <a:ext cx="4017033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User-defined rotation aligns each slot with the funnel for fully automatic insertions.</a:t>
            </a: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E5C033-37E8-DCFE-9551-00EC77DFD86C}"/>
              </a:ext>
            </a:extLst>
          </p:cNvPr>
          <p:cNvSpPr txBox="1"/>
          <p:nvPr/>
        </p:nvSpPr>
        <p:spPr>
          <a:xfrm>
            <a:off x="7504710" y="4010725"/>
            <a:ext cx="4155182" cy="1798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Secure, repeatable positioning for insertion tool and slot liners </a:t>
            </a:r>
            <a:br>
              <a:rPr lang="en-US" dirty="0"/>
            </a:br>
            <a:r>
              <a:rPr lang="en-US" dirty="0"/>
              <a:t>2). Quickly accommodates different stator or slot liner geometries with minimal downtime.</a:t>
            </a:r>
            <a:br>
              <a:rPr lang="en-US" dirty="0"/>
            </a:br>
            <a:r>
              <a:rPr lang="en-US" dirty="0"/>
              <a:t>3). Ensures accurate robot grasping, reducing misalignment and improving repeatability.</a:t>
            </a:r>
            <a:br>
              <a:rPr lang="en-US" dirty="0"/>
            </a:br>
            <a:r>
              <a:rPr lang="en-US" dirty="0"/>
              <a:t>4). Enhances workflow efficiency in small-batch or high-mix production while maintaining precision.</a:t>
            </a:r>
            <a:br>
              <a:rPr lang="en-US" dirty="0"/>
            </a:b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Parameters Considered for the Parametric Funnel Development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720977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too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051" y="331727"/>
            <a:ext cx="10303200" cy="503238"/>
          </a:xfrm>
        </p:spPr>
        <p:txBody>
          <a:bodyPr/>
          <a:lstStyle/>
          <a:p>
            <a:r>
              <a:rPr lang="en-US" dirty="0"/>
              <a:t>Initial Funnel Design: Parametric Geometry and Guiding Mechanism for Slot Liner Inser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06DDA0-6680-2E0A-CDE8-AE0CDF7ABBC5}"/>
              </a:ext>
            </a:extLst>
          </p:cNvPr>
          <p:cNvGrpSpPr/>
          <p:nvPr/>
        </p:nvGrpSpPr>
        <p:grpSpPr>
          <a:xfrm>
            <a:off x="1310425" y="1461003"/>
            <a:ext cx="4209450" cy="4079866"/>
            <a:chOff x="4206756" y="1283927"/>
            <a:chExt cx="4209450" cy="40798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4206756" y="1290264"/>
              <a:ext cx="1803400" cy="1715007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6612806" y="1283927"/>
              <a:ext cx="1803400" cy="1722374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4458173" y="3544907"/>
              <a:ext cx="2012950" cy="1818886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6727353" y="3075687"/>
              <a:ext cx="1568450" cy="221449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CF3205-176B-7E6B-83F8-58C816934FFB}"/>
              </a:ext>
            </a:extLst>
          </p:cNvPr>
          <p:cNvGrpSpPr/>
          <p:nvPr/>
        </p:nvGrpSpPr>
        <p:grpSpPr>
          <a:xfrm>
            <a:off x="1975436" y="534634"/>
            <a:ext cx="8626593" cy="5418667"/>
            <a:chOff x="1941092" y="351186"/>
            <a:chExt cx="8626593" cy="5418667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B73D3FE-E9B6-EE90-20AF-82969196DD9F}"/>
                </a:ext>
              </a:extLst>
            </p:cNvPr>
            <p:cNvSpPr/>
            <p:nvPr/>
          </p:nvSpPr>
          <p:spPr>
            <a:xfrm>
              <a:off x="6364224" y="4381598"/>
              <a:ext cx="554736" cy="642087"/>
            </a:xfrm>
            <a:custGeom>
              <a:avLst/>
              <a:gdLst>
                <a:gd name="connsiteX0" fmla="*/ 42672 w 554736"/>
                <a:gd name="connsiteY0" fmla="*/ 641506 h 642087"/>
                <a:gd name="connsiteX1" fmla="*/ 97536 w 554736"/>
                <a:gd name="connsiteY1" fmla="*/ 611026 h 642087"/>
                <a:gd name="connsiteX2" fmla="*/ 121920 w 554736"/>
                <a:gd name="connsiteY2" fmla="*/ 604930 h 642087"/>
                <a:gd name="connsiteX3" fmla="*/ 164592 w 554736"/>
                <a:gd name="connsiteY3" fmla="*/ 580546 h 642087"/>
                <a:gd name="connsiteX4" fmla="*/ 182880 w 554736"/>
                <a:gd name="connsiteY4" fmla="*/ 568354 h 642087"/>
                <a:gd name="connsiteX5" fmla="*/ 201168 w 554736"/>
                <a:gd name="connsiteY5" fmla="*/ 525682 h 642087"/>
                <a:gd name="connsiteX6" fmla="*/ 237744 w 554736"/>
                <a:gd name="connsiteY6" fmla="*/ 501298 h 642087"/>
                <a:gd name="connsiteX7" fmla="*/ 256032 w 554736"/>
                <a:gd name="connsiteY7" fmla="*/ 483010 h 642087"/>
                <a:gd name="connsiteX8" fmla="*/ 298704 w 554736"/>
                <a:gd name="connsiteY8" fmla="*/ 428146 h 642087"/>
                <a:gd name="connsiteX9" fmla="*/ 316992 w 554736"/>
                <a:gd name="connsiteY9" fmla="*/ 409858 h 642087"/>
                <a:gd name="connsiteX10" fmla="*/ 329184 w 554736"/>
                <a:gd name="connsiteY10" fmla="*/ 391570 h 642087"/>
                <a:gd name="connsiteX11" fmla="*/ 347472 w 554736"/>
                <a:gd name="connsiteY11" fmla="*/ 379378 h 642087"/>
                <a:gd name="connsiteX12" fmla="*/ 390144 w 554736"/>
                <a:gd name="connsiteY12" fmla="*/ 342802 h 642087"/>
                <a:gd name="connsiteX13" fmla="*/ 414528 w 554736"/>
                <a:gd name="connsiteY13" fmla="*/ 306226 h 642087"/>
                <a:gd name="connsiteX14" fmla="*/ 457200 w 554736"/>
                <a:gd name="connsiteY14" fmla="*/ 245266 h 642087"/>
                <a:gd name="connsiteX15" fmla="*/ 475488 w 554736"/>
                <a:gd name="connsiteY15" fmla="*/ 226978 h 642087"/>
                <a:gd name="connsiteX16" fmla="*/ 499872 w 554736"/>
                <a:gd name="connsiteY16" fmla="*/ 184306 h 642087"/>
                <a:gd name="connsiteX17" fmla="*/ 524256 w 554736"/>
                <a:gd name="connsiteY17" fmla="*/ 159922 h 642087"/>
                <a:gd name="connsiteX18" fmla="*/ 530352 w 554736"/>
                <a:gd name="connsiteY18" fmla="*/ 141634 h 642087"/>
                <a:gd name="connsiteX19" fmla="*/ 542544 w 554736"/>
                <a:gd name="connsiteY19" fmla="*/ 123346 h 642087"/>
                <a:gd name="connsiteX20" fmla="*/ 554736 w 554736"/>
                <a:gd name="connsiteY20" fmla="*/ 62386 h 642087"/>
                <a:gd name="connsiteX21" fmla="*/ 365760 w 554736"/>
                <a:gd name="connsiteY21" fmla="*/ 31906 h 642087"/>
                <a:gd name="connsiteX22" fmla="*/ 134112 w 554736"/>
                <a:gd name="connsiteY22" fmla="*/ 129442 h 642087"/>
                <a:gd name="connsiteX23" fmla="*/ 48768 w 554736"/>
                <a:gd name="connsiteY23" fmla="*/ 226978 h 642087"/>
                <a:gd name="connsiteX24" fmla="*/ 30480 w 554736"/>
                <a:gd name="connsiteY24" fmla="*/ 269650 h 642087"/>
                <a:gd name="connsiteX25" fmla="*/ 12192 w 554736"/>
                <a:gd name="connsiteY25" fmla="*/ 330610 h 642087"/>
                <a:gd name="connsiteX26" fmla="*/ 0 w 554736"/>
                <a:gd name="connsiteY26" fmla="*/ 367186 h 642087"/>
                <a:gd name="connsiteX27" fmla="*/ 18288 w 554736"/>
                <a:gd name="connsiteY27" fmla="*/ 489106 h 642087"/>
                <a:gd name="connsiteX28" fmla="*/ 42672 w 554736"/>
                <a:gd name="connsiteY28" fmla="*/ 556162 h 642087"/>
                <a:gd name="connsiteX29" fmla="*/ 48768 w 554736"/>
                <a:gd name="connsiteY29" fmla="*/ 580546 h 642087"/>
                <a:gd name="connsiteX30" fmla="*/ 42672 w 554736"/>
                <a:gd name="connsiteY30" fmla="*/ 641506 h 6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4736" h="642087">
                  <a:moveTo>
                    <a:pt x="42672" y="641506"/>
                  </a:moveTo>
                  <a:cubicBezTo>
                    <a:pt x="50800" y="646586"/>
                    <a:pt x="81989" y="616856"/>
                    <a:pt x="97536" y="611026"/>
                  </a:cubicBezTo>
                  <a:cubicBezTo>
                    <a:pt x="105381" y="608084"/>
                    <a:pt x="113792" y="606962"/>
                    <a:pt x="121920" y="604930"/>
                  </a:cubicBezTo>
                  <a:cubicBezTo>
                    <a:pt x="166476" y="575226"/>
                    <a:pt x="110452" y="611483"/>
                    <a:pt x="164592" y="580546"/>
                  </a:cubicBezTo>
                  <a:cubicBezTo>
                    <a:pt x="170953" y="576911"/>
                    <a:pt x="176784" y="572418"/>
                    <a:pt x="182880" y="568354"/>
                  </a:cubicBezTo>
                  <a:cubicBezTo>
                    <a:pt x="186902" y="552268"/>
                    <a:pt x="187697" y="537470"/>
                    <a:pt x="201168" y="525682"/>
                  </a:cubicBezTo>
                  <a:cubicBezTo>
                    <a:pt x="212195" y="516033"/>
                    <a:pt x="227383" y="511659"/>
                    <a:pt x="237744" y="501298"/>
                  </a:cubicBezTo>
                  <a:lnTo>
                    <a:pt x="256032" y="483010"/>
                  </a:lnTo>
                  <a:cubicBezTo>
                    <a:pt x="267580" y="448365"/>
                    <a:pt x="257584" y="469266"/>
                    <a:pt x="298704" y="428146"/>
                  </a:cubicBezTo>
                  <a:cubicBezTo>
                    <a:pt x="304800" y="422050"/>
                    <a:pt x="312210" y="417031"/>
                    <a:pt x="316992" y="409858"/>
                  </a:cubicBezTo>
                  <a:cubicBezTo>
                    <a:pt x="321056" y="403762"/>
                    <a:pt x="324003" y="396751"/>
                    <a:pt x="329184" y="391570"/>
                  </a:cubicBezTo>
                  <a:cubicBezTo>
                    <a:pt x="334365" y="386389"/>
                    <a:pt x="341510" y="383636"/>
                    <a:pt x="347472" y="379378"/>
                  </a:cubicBezTo>
                  <a:cubicBezTo>
                    <a:pt x="374843" y="359827"/>
                    <a:pt x="367990" y="364956"/>
                    <a:pt x="390144" y="342802"/>
                  </a:cubicBezTo>
                  <a:cubicBezTo>
                    <a:pt x="401803" y="307826"/>
                    <a:pt x="387891" y="340474"/>
                    <a:pt x="414528" y="306226"/>
                  </a:cubicBezTo>
                  <a:cubicBezTo>
                    <a:pt x="443906" y="268454"/>
                    <a:pt x="430565" y="276340"/>
                    <a:pt x="457200" y="245266"/>
                  </a:cubicBezTo>
                  <a:cubicBezTo>
                    <a:pt x="462811" y="238720"/>
                    <a:pt x="469969" y="233601"/>
                    <a:pt x="475488" y="226978"/>
                  </a:cubicBezTo>
                  <a:cubicBezTo>
                    <a:pt x="516303" y="178001"/>
                    <a:pt x="455154" y="243930"/>
                    <a:pt x="499872" y="184306"/>
                  </a:cubicBezTo>
                  <a:cubicBezTo>
                    <a:pt x="506769" y="175110"/>
                    <a:pt x="516128" y="168050"/>
                    <a:pt x="524256" y="159922"/>
                  </a:cubicBezTo>
                  <a:cubicBezTo>
                    <a:pt x="526288" y="153826"/>
                    <a:pt x="527478" y="147381"/>
                    <a:pt x="530352" y="141634"/>
                  </a:cubicBezTo>
                  <a:cubicBezTo>
                    <a:pt x="533629" y="135081"/>
                    <a:pt x="539658" y="130080"/>
                    <a:pt x="542544" y="123346"/>
                  </a:cubicBezTo>
                  <a:cubicBezTo>
                    <a:pt x="547504" y="111772"/>
                    <a:pt x="553361" y="70637"/>
                    <a:pt x="554736" y="62386"/>
                  </a:cubicBezTo>
                  <a:cubicBezTo>
                    <a:pt x="539563" y="-28652"/>
                    <a:pt x="556304" y="-2738"/>
                    <a:pt x="365760" y="31906"/>
                  </a:cubicBezTo>
                  <a:cubicBezTo>
                    <a:pt x="275375" y="48340"/>
                    <a:pt x="210751" y="88175"/>
                    <a:pt x="134112" y="129442"/>
                  </a:cubicBezTo>
                  <a:cubicBezTo>
                    <a:pt x="105664" y="161954"/>
                    <a:pt x="65786" y="187270"/>
                    <a:pt x="48768" y="226978"/>
                  </a:cubicBezTo>
                  <a:cubicBezTo>
                    <a:pt x="42672" y="241202"/>
                    <a:pt x="36035" y="255206"/>
                    <a:pt x="30480" y="269650"/>
                  </a:cubicBezTo>
                  <a:cubicBezTo>
                    <a:pt x="10887" y="320593"/>
                    <a:pt x="24503" y="289574"/>
                    <a:pt x="12192" y="330610"/>
                  </a:cubicBezTo>
                  <a:cubicBezTo>
                    <a:pt x="8499" y="342920"/>
                    <a:pt x="4064" y="354994"/>
                    <a:pt x="0" y="367186"/>
                  </a:cubicBezTo>
                  <a:cubicBezTo>
                    <a:pt x="6096" y="407826"/>
                    <a:pt x="10527" y="448751"/>
                    <a:pt x="18288" y="489106"/>
                  </a:cubicBezTo>
                  <a:cubicBezTo>
                    <a:pt x="22816" y="512653"/>
                    <a:pt x="35179" y="533683"/>
                    <a:pt x="42672" y="556162"/>
                  </a:cubicBezTo>
                  <a:cubicBezTo>
                    <a:pt x="45321" y="564110"/>
                    <a:pt x="46951" y="572367"/>
                    <a:pt x="48768" y="580546"/>
                  </a:cubicBezTo>
                  <a:cubicBezTo>
                    <a:pt x="55661" y="611565"/>
                    <a:pt x="34544" y="636426"/>
                    <a:pt x="42672" y="6415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EFFBB99-CA56-1693-A95B-1299F342475D}"/>
                </a:ext>
              </a:extLst>
            </p:cNvPr>
            <p:cNvGrpSpPr/>
            <p:nvPr/>
          </p:nvGrpSpPr>
          <p:grpSpPr>
            <a:xfrm>
              <a:off x="1941092" y="351186"/>
              <a:ext cx="8557958" cy="5418667"/>
              <a:chOff x="2745794" y="351186"/>
              <a:chExt cx="8557958" cy="5418667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19EA132-B0FF-204D-2AB3-5D1C23E05768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557958" cy="5418667"/>
                <a:chOff x="2745794" y="351186"/>
                <a:chExt cx="8557958" cy="5418667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E1F1CD2-D949-91FF-33DB-BC28E51743A0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557958" cy="5418667"/>
                  <a:chOff x="2745794" y="351186"/>
                  <a:chExt cx="8557958" cy="5418667"/>
                </a:xfrm>
              </p:grpSpPr>
              <p:sp>
                <p:nvSpPr>
                  <p:cNvPr id="40" name="Flowchart: Process 39">
                    <a:extLst>
                      <a:ext uri="{FF2B5EF4-FFF2-40B4-BE49-F238E27FC236}">
                        <a16:creationId xmlns:a16="http://schemas.microsoft.com/office/drawing/2014/main" id="{B9017893-EA52-3E15-495C-76B1517F9094}"/>
                      </a:ext>
                    </a:extLst>
                  </p:cNvPr>
                  <p:cNvSpPr/>
                  <p:nvPr/>
                </p:nvSpPr>
                <p:spPr>
                  <a:xfrm>
                    <a:off x="7320136" y="3264378"/>
                    <a:ext cx="3983616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D635535B-7387-0E17-7C95-5BB9C8D58F1A}"/>
                      </a:ext>
                    </a:extLst>
                  </p:cNvPr>
                  <p:cNvGrpSpPr/>
                  <p:nvPr/>
                </p:nvGrpSpPr>
                <p:grpSpPr>
                  <a:xfrm>
                    <a:off x="2745794" y="351186"/>
                    <a:ext cx="8557958" cy="5418667"/>
                    <a:chOff x="2131008" y="719666"/>
                    <a:chExt cx="9292493" cy="5418667"/>
                  </a:xfrm>
                </p:grpSpPr>
                <p:sp>
                  <p:nvSpPr>
                    <p:cNvPr id="38" name="Flowchart: Process 37">
                      <a:extLst>
                        <a:ext uri="{FF2B5EF4-FFF2-40B4-BE49-F238E27FC236}">
                          <a16:creationId xmlns:a16="http://schemas.microsoft.com/office/drawing/2014/main" id="{9C14DBBF-9B21-5A76-93AF-EAC7B1193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659" y="4926599"/>
                      <a:ext cx="5248842" cy="799302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6" name="Flowchart: Process 35">
                      <a:extLst>
                        <a:ext uri="{FF2B5EF4-FFF2-40B4-BE49-F238E27FC236}">
                          <a16:creationId xmlns:a16="http://schemas.microsoft.com/office/drawing/2014/main" id="{5D951B8D-8634-5694-0EEF-A67CD7F5B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7968" y="2416761"/>
                      <a:ext cx="4325533" cy="799301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34" name="Flowchart: Process 33">
                      <a:extLst>
                        <a:ext uri="{FF2B5EF4-FFF2-40B4-BE49-F238E27FC236}">
                          <a16:creationId xmlns:a16="http://schemas.microsoft.com/office/drawing/2014/main" id="{E5B19AED-D08C-255A-52FC-FBC3F7CB1C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2575" y="1176459"/>
                      <a:ext cx="5310926" cy="823505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3" name="Block Arc 32">
                      <a:extLst>
                        <a:ext uri="{FF2B5EF4-FFF2-40B4-BE49-F238E27FC236}">
                          <a16:creationId xmlns:a16="http://schemas.microsoft.com/office/drawing/2014/main" id="{01252554-377C-67FE-7B60-4DC389AE7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31008" y="719666"/>
                      <a:ext cx="5310926" cy="5418667"/>
                    </a:xfrm>
                    <a:prstGeom prst="blockArc">
                      <a:avLst>
                        <a:gd name="adj1" fmla="val 17527788"/>
                        <a:gd name="adj2" fmla="val 4119114"/>
                        <a:gd name="adj3" fmla="val 5750"/>
                      </a:avLst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5" name="Freeform: Shape 34">
                      <a:extLst>
                        <a:ext uri="{FF2B5EF4-FFF2-40B4-BE49-F238E27FC236}">
                          <a16:creationId xmlns:a16="http://schemas.microsoft.com/office/drawing/2014/main" id="{A5173581-65C4-77F6-BA09-EB0022829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1198676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7" name="Freeform: Shape 36">
                      <a:extLst>
                        <a:ext uri="{FF2B5EF4-FFF2-40B4-BE49-F238E27FC236}">
                          <a16:creationId xmlns:a16="http://schemas.microsoft.com/office/drawing/2014/main" id="{77097A40-DAAB-E108-4FFE-5D703CDADA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9107" y="2767922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9" name="Freeform: Shape 38">
                      <a:extLst>
                        <a:ext uri="{FF2B5EF4-FFF2-40B4-BE49-F238E27FC236}">
                          <a16:creationId xmlns:a16="http://schemas.microsoft.com/office/drawing/2014/main" id="{7D9ECBB2-C7A8-1296-AB04-53CC6921E2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4370763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</p:grpSp>
            </p:grp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8FA0AABD-B4D5-A8DA-49AC-696A4D9148DA}"/>
                    </a:ext>
                  </a:extLst>
                </p:cNvPr>
                <p:cNvSpPr/>
                <p:nvPr/>
              </p:nvSpPr>
              <p:spPr>
                <a:xfrm>
                  <a:off x="6317673" y="1063949"/>
                  <a:ext cx="602672" cy="757924"/>
                </a:xfrm>
                <a:custGeom>
                  <a:avLst/>
                  <a:gdLst>
                    <a:gd name="connsiteX0" fmla="*/ 20782 w 602672"/>
                    <a:gd name="connsiteY0" fmla="*/ 2851 h 757924"/>
                    <a:gd name="connsiteX1" fmla="*/ 55418 w 602672"/>
                    <a:gd name="connsiteY1" fmla="*/ 9778 h 757924"/>
                    <a:gd name="connsiteX2" fmla="*/ 117763 w 602672"/>
                    <a:gd name="connsiteY2" fmla="*/ 44415 h 757924"/>
                    <a:gd name="connsiteX3" fmla="*/ 138545 w 602672"/>
                    <a:gd name="connsiteY3" fmla="*/ 65196 h 757924"/>
                    <a:gd name="connsiteX4" fmla="*/ 187036 w 602672"/>
                    <a:gd name="connsiteY4" fmla="*/ 92906 h 757924"/>
                    <a:gd name="connsiteX5" fmla="*/ 263236 w 602672"/>
                    <a:gd name="connsiteY5" fmla="*/ 162178 h 757924"/>
                    <a:gd name="connsiteX6" fmla="*/ 290945 w 602672"/>
                    <a:gd name="connsiteY6" fmla="*/ 189887 h 757924"/>
                    <a:gd name="connsiteX7" fmla="*/ 318654 w 602672"/>
                    <a:gd name="connsiteY7" fmla="*/ 210669 h 757924"/>
                    <a:gd name="connsiteX8" fmla="*/ 353291 w 602672"/>
                    <a:gd name="connsiteY8" fmla="*/ 252233 h 757924"/>
                    <a:gd name="connsiteX9" fmla="*/ 374072 w 602672"/>
                    <a:gd name="connsiteY9" fmla="*/ 259160 h 757924"/>
                    <a:gd name="connsiteX10" fmla="*/ 401782 w 602672"/>
                    <a:gd name="connsiteY10" fmla="*/ 279942 h 757924"/>
                    <a:gd name="connsiteX11" fmla="*/ 422563 w 602672"/>
                    <a:gd name="connsiteY11" fmla="*/ 293796 h 757924"/>
                    <a:gd name="connsiteX12" fmla="*/ 436418 w 602672"/>
                    <a:gd name="connsiteY12" fmla="*/ 321506 h 757924"/>
                    <a:gd name="connsiteX13" fmla="*/ 457200 w 602672"/>
                    <a:gd name="connsiteY13" fmla="*/ 335360 h 757924"/>
                    <a:gd name="connsiteX14" fmla="*/ 477982 w 602672"/>
                    <a:gd name="connsiteY14" fmla="*/ 356142 h 757924"/>
                    <a:gd name="connsiteX15" fmla="*/ 491836 w 602672"/>
                    <a:gd name="connsiteY15" fmla="*/ 383851 h 757924"/>
                    <a:gd name="connsiteX16" fmla="*/ 519545 w 602672"/>
                    <a:gd name="connsiteY16" fmla="*/ 432342 h 757924"/>
                    <a:gd name="connsiteX17" fmla="*/ 526472 w 602672"/>
                    <a:gd name="connsiteY17" fmla="*/ 453124 h 757924"/>
                    <a:gd name="connsiteX18" fmla="*/ 554182 w 602672"/>
                    <a:gd name="connsiteY18" fmla="*/ 494687 h 757924"/>
                    <a:gd name="connsiteX19" fmla="*/ 581891 w 602672"/>
                    <a:gd name="connsiteY19" fmla="*/ 543178 h 757924"/>
                    <a:gd name="connsiteX20" fmla="*/ 602672 w 602672"/>
                    <a:gd name="connsiteY20" fmla="*/ 612451 h 757924"/>
                    <a:gd name="connsiteX21" fmla="*/ 588818 w 602672"/>
                    <a:gd name="connsiteY21" fmla="*/ 681724 h 757924"/>
                    <a:gd name="connsiteX22" fmla="*/ 547254 w 602672"/>
                    <a:gd name="connsiteY22" fmla="*/ 723287 h 757924"/>
                    <a:gd name="connsiteX23" fmla="*/ 498763 w 602672"/>
                    <a:gd name="connsiteY23" fmla="*/ 737142 h 757924"/>
                    <a:gd name="connsiteX24" fmla="*/ 381000 w 602672"/>
                    <a:gd name="connsiteY24" fmla="*/ 757924 h 757924"/>
                    <a:gd name="connsiteX25" fmla="*/ 145472 w 602672"/>
                    <a:gd name="connsiteY25" fmla="*/ 702506 h 757924"/>
                    <a:gd name="connsiteX26" fmla="*/ 90054 w 602672"/>
                    <a:gd name="connsiteY26" fmla="*/ 647087 h 757924"/>
                    <a:gd name="connsiteX27" fmla="*/ 13854 w 602672"/>
                    <a:gd name="connsiteY27" fmla="*/ 439269 h 757924"/>
                    <a:gd name="connsiteX28" fmla="*/ 0 w 602672"/>
                    <a:gd name="connsiteY28" fmla="*/ 342287 h 757924"/>
                    <a:gd name="connsiteX29" fmla="*/ 6927 w 602672"/>
                    <a:gd name="connsiteY29" fmla="*/ 79051 h 757924"/>
                    <a:gd name="connsiteX30" fmla="*/ 20782 w 602672"/>
                    <a:gd name="connsiteY30" fmla="*/ 58269 h 757924"/>
                    <a:gd name="connsiteX31" fmla="*/ 20782 w 602672"/>
                    <a:gd name="connsiteY31" fmla="*/ 2851 h 757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602672" h="757924">
                      <a:moveTo>
                        <a:pt x="20782" y="2851"/>
                      </a:moveTo>
                      <a:cubicBezTo>
                        <a:pt x="26555" y="-5231"/>
                        <a:pt x="44248" y="6055"/>
                        <a:pt x="55418" y="9778"/>
                      </a:cubicBezTo>
                      <a:cubicBezTo>
                        <a:pt x="67260" y="13725"/>
                        <a:pt x="110661" y="39089"/>
                        <a:pt x="117763" y="44415"/>
                      </a:cubicBezTo>
                      <a:cubicBezTo>
                        <a:pt x="125600" y="50293"/>
                        <a:pt x="131019" y="58925"/>
                        <a:pt x="138545" y="65196"/>
                      </a:cubicBezTo>
                      <a:cubicBezTo>
                        <a:pt x="161427" y="84264"/>
                        <a:pt x="159933" y="75966"/>
                        <a:pt x="187036" y="92906"/>
                      </a:cubicBezTo>
                      <a:cubicBezTo>
                        <a:pt x="217703" y="112073"/>
                        <a:pt x="236932" y="135874"/>
                        <a:pt x="263236" y="162178"/>
                      </a:cubicBezTo>
                      <a:cubicBezTo>
                        <a:pt x="272472" y="171414"/>
                        <a:pt x="280495" y="182050"/>
                        <a:pt x="290945" y="189887"/>
                      </a:cubicBezTo>
                      <a:cubicBezTo>
                        <a:pt x="300181" y="196814"/>
                        <a:pt x="310490" y="202505"/>
                        <a:pt x="318654" y="210669"/>
                      </a:cubicBezTo>
                      <a:cubicBezTo>
                        <a:pt x="344211" y="236226"/>
                        <a:pt x="319246" y="229536"/>
                        <a:pt x="353291" y="252233"/>
                      </a:cubicBezTo>
                      <a:cubicBezTo>
                        <a:pt x="359366" y="256283"/>
                        <a:pt x="367145" y="256851"/>
                        <a:pt x="374072" y="259160"/>
                      </a:cubicBezTo>
                      <a:cubicBezTo>
                        <a:pt x="383309" y="266087"/>
                        <a:pt x="392387" y="273231"/>
                        <a:pt x="401782" y="279942"/>
                      </a:cubicBezTo>
                      <a:cubicBezTo>
                        <a:pt x="408557" y="284781"/>
                        <a:pt x="417233" y="287400"/>
                        <a:pt x="422563" y="293796"/>
                      </a:cubicBezTo>
                      <a:cubicBezTo>
                        <a:pt x="429174" y="301729"/>
                        <a:pt x="429807" y="313573"/>
                        <a:pt x="436418" y="321506"/>
                      </a:cubicBezTo>
                      <a:cubicBezTo>
                        <a:pt x="441748" y="327902"/>
                        <a:pt x="450804" y="330030"/>
                        <a:pt x="457200" y="335360"/>
                      </a:cubicBezTo>
                      <a:cubicBezTo>
                        <a:pt x="464726" y="341632"/>
                        <a:pt x="471055" y="349215"/>
                        <a:pt x="477982" y="356142"/>
                      </a:cubicBezTo>
                      <a:cubicBezTo>
                        <a:pt x="482600" y="365378"/>
                        <a:pt x="486713" y="374885"/>
                        <a:pt x="491836" y="383851"/>
                      </a:cubicBezTo>
                      <a:cubicBezTo>
                        <a:pt x="511715" y="418639"/>
                        <a:pt x="501601" y="390471"/>
                        <a:pt x="519545" y="432342"/>
                      </a:cubicBezTo>
                      <a:cubicBezTo>
                        <a:pt x="522421" y="439054"/>
                        <a:pt x="522926" y="446741"/>
                        <a:pt x="526472" y="453124"/>
                      </a:cubicBezTo>
                      <a:cubicBezTo>
                        <a:pt x="534559" y="467680"/>
                        <a:pt x="554182" y="494687"/>
                        <a:pt x="554182" y="494687"/>
                      </a:cubicBezTo>
                      <a:cubicBezTo>
                        <a:pt x="575369" y="558251"/>
                        <a:pt x="539953" y="459301"/>
                        <a:pt x="581891" y="543178"/>
                      </a:cubicBezTo>
                      <a:cubicBezTo>
                        <a:pt x="590323" y="560042"/>
                        <a:pt x="597701" y="592565"/>
                        <a:pt x="602672" y="612451"/>
                      </a:cubicBezTo>
                      <a:cubicBezTo>
                        <a:pt x="598054" y="635542"/>
                        <a:pt x="595743" y="659217"/>
                        <a:pt x="588818" y="681724"/>
                      </a:cubicBezTo>
                      <a:cubicBezTo>
                        <a:pt x="583861" y="697834"/>
                        <a:pt x="560404" y="717310"/>
                        <a:pt x="547254" y="723287"/>
                      </a:cubicBezTo>
                      <a:cubicBezTo>
                        <a:pt x="531950" y="730243"/>
                        <a:pt x="515072" y="733065"/>
                        <a:pt x="498763" y="737142"/>
                      </a:cubicBezTo>
                      <a:cubicBezTo>
                        <a:pt x="436144" y="752797"/>
                        <a:pt x="441889" y="750312"/>
                        <a:pt x="381000" y="757924"/>
                      </a:cubicBezTo>
                      <a:cubicBezTo>
                        <a:pt x="274008" y="745085"/>
                        <a:pt x="221927" y="760972"/>
                        <a:pt x="145472" y="702506"/>
                      </a:cubicBezTo>
                      <a:cubicBezTo>
                        <a:pt x="124720" y="686637"/>
                        <a:pt x="108527" y="665560"/>
                        <a:pt x="90054" y="647087"/>
                      </a:cubicBezTo>
                      <a:cubicBezTo>
                        <a:pt x="7693" y="465892"/>
                        <a:pt x="29501" y="554010"/>
                        <a:pt x="13854" y="439269"/>
                      </a:cubicBezTo>
                      <a:cubicBezTo>
                        <a:pt x="9442" y="406913"/>
                        <a:pt x="0" y="342287"/>
                        <a:pt x="0" y="342287"/>
                      </a:cubicBezTo>
                      <a:cubicBezTo>
                        <a:pt x="2309" y="254542"/>
                        <a:pt x="521" y="166593"/>
                        <a:pt x="6927" y="79051"/>
                      </a:cubicBezTo>
                      <a:cubicBezTo>
                        <a:pt x="7535" y="70748"/>
                        <a:pt x="15943" y="65044"/>
                        <a:pt x="20782" y="58269"/>
                      </a:cubicBezTo>
                      <a:cubicBezTo>
                        <a:pt x="44334" y="25296"/>
                        <a:pt x="15009" y="10933"/>
                        <a:pt x="20782" y="2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AC9BDC8-2C41-0FBB-3864-54F1F2E07DF1}"/>
                  </a:ext>
                </a:extLst>
              </p:cNvPr>
              <p:cNvSpPr/>
              <p:nvPr/>
            </p:nvSpPr>
            <p:spPr>
              <a:xfrm>
                <a:off x="6300072" y="4469008"/>
                <a:ext cx="598508" cy="573989"/>
              </a:xfrm>
              <a:custGeom>
                <a:avLst/>
                <a:gdLst>
                  <a:gd name="connsiteX0" fmla="*/ 106139 w 598508"/>
                  <a:gd name="connsiteY0" fmla="*/ 557487 h 573989"/>
                  <a:gd name="connsiteX1" fmla="*/ 133192 w 598508"/>
                  <a:gd name="connsiteY1" fmla="*/ 552076 h 573989"/>
                  <a:gd name="connsiteX2" fmla="*/ 144013 w 598508"/>
                  <a:gd name="connsiteY2" fmla="*/ 535844 h 573989"/>
                  <a:gd name="connsiteX3" fmla="*/ 154835 w 598508"/>
                  <a:gd name="connsiteY3" fmla="*/ 525023 h 573989"/>
                  <a:gd name="connsiteX4" fmla="*/ 176477 w 598508"/>
                  <a:gd name="connsiteY4" fmla="*/ 514201 h 573989"/>
                  <a:gd name="connsiteX5" fmla="*/ 192709 w 598508"/>
                  <a:gd name="connsiteY5" fmla="*/ 497970 h 573989"/>
                  <a:gd name="connsiteX6" fmla="*/ 214352 w 598508"/>
                  <a:gd name="connsiteY6" fmla="*/ 481738 h 573989"/>
                  <a:gd name="connsiteX7" fmla="*/ 230584 w 598508"/>
                  <a:gd name="connsiteY7" fmla="*/ 470916 h 573989"/>
                  <a:gd name="connsiteX8" fmla="*/ 246816 w 598508"/>
                  <a:gd name="connsiteY8" fmla="*/ 454684 h 573989"/>
                  <a:gd name="connsiteX9" fmla="*/ 263048 w 598508"/>
                  <a:gd name="connsiteY9" fmla="*/ 443863 h 573989"/>
                  <a:gd name="connsiteX10" fmla="*/ 279279 w 598508"/>
                  <a:gd name="connsiteY10" fmla="*/ 427631 h 573989"/>
                  <a:gd name="connsiteX11" fmla="*/ 295511 w 598508"/>
                  <a:gd name="connsiteY11" fmla="*/ 416810 h 573989"/>
                  <a:gd name="connsiteX12" fmla="*/ 322565 w 598508"/>
                  <a:gd name="connsiteY12" fmla="*/ 389756 h 573989"/>
                  <a:gd name="connsiteX13" fmla="*/ 355029 w 598508"/>
                  <a:gd name="connsiteY13" fmla="*/ 362703 h 573989"/>
                  <a:gd name="connsiteX14" fmla="*/ 376671 w 598508"/>
                  <a:gd name="connsiteY14" fmla="*/ 324829 h 573989"/>
                  <a:gd name="connsiteX15" fmla="*/ 387492 w 598508"/>
                  <a:gd name="connsiteY15" fmla="*/ 314007 h 573989"/>
                  <a:gd name="connsiteX16" fmla="*/ 398314 w 598508"/>
                  <a:gd name="connsiteY16" fmla="*/ 297775 h 573989"/>
                  <a:gd name="connsiteX17" fmla="*/ 419956 w 598508"/>
                  <a:gd name="connsiteY17" fmla="*/ 281543 h 573989"/>
                  <a:gd name="connsiteX18" fmla="*/ 430778 w 598508"/>
                  <a:gd name="connsiteY18" fmla="*/ 265312 h 573989"/>
                  <a:gd name="connsiteX19" fmla="*/ 441599 w 598508"/>
                  <a:gd name="connsiteY19" fmla="*/ 254490 h 573989"/>
                  <a:gd name="connsiteX20" fmla="*/ 452420 w 598508"/>
                  <a:gd name="connsiteY20" fmla="*/ 232848 h 573989"/>
                  <a:gd name="connsiteX21" fmla="*/ 479474 w 598508"/>
                  <a:gd name="connsiteY21" fmla="*/ 205794 h 573989"/>
                  <a:gd name="connsiteX22" fmla="*/ 490295 w 598508"/>
                  <a:gd name="connsiteY22" fmla="*/ 184152 h 573989"/>
                  <a:gd name="connsiteX23" fmla="*/ 501116 w 598508"/>
                  <a:gd name="connsiteY23" fmla="*/ 173330 h 573989"/>
                  <a:gd name="connsiteX24" fmla="*/ 511937 w 598508"/>
                  <a:gd name="connsiteY24" fmla="*/ 157099 h 573989"/>
                  <a:gd name="connsiteX25" fmla="*/ 544401 w 598508"/>
                  <a:gd name="connsiteY25" fmla="*/ 130045 h 573989"/>
                  <a:gd name="connsiteX26" fmla="*/ 555223 w 598508"/>
                  <a:gd name="connsiteY26" fmla="*/ 113813 h 573989"/>
                  <a:gd name="connsiteX27" fmla="*/ 560633 w 598508"/>
                  <a:gd name="connsiteY27" fmla="*/ 97581 h 573989"/>
                  <a:gd name="connsiteX28" fmla="*/ 571455 w 598508"/>
                  <a:gd name="connsiteY28" fmla="*/ 86760 h 573989"/>
                  <a:gd name="connsiteX29" fmla="*/ 582276 w 598508"/>
                  <a:gd name="connsiteY29" fmla="*/ 70528 h 573989"/>
                  <a:gd name="connsiteX30" fmla="*/ 587687 w 598508"/>
                  <a:gd name="connsiteY30" fmla="*/ 54296 h 573989"/>
                  <a:gd name="connsiteX31" fmla="*/ 598508 w 598508"/>
                  <a:gd name="connsiteY31" fmla="*/ 32654 h 573989"/>
                  <a:gd name="connsiteX32" fmla="*/ 587687 w 598508"/>
                  <a:gd name="connsiteY32" fmla="*/ 5600 h 573989"/>
                  <a:gd name="connsiteX33" fmla="*/ 555223 w 598508"/>
                  <a:gd name="connsiteY33" fmla="*/ 190 h 573989"/>
                  <a:gd name="connsiteX34" fmla="*/ 355029 w 598508"/>
                  <a:gd name="connsiteY34" fmla="*/ 11011 h 573989"/>
                  <a:gd name="connsiteX35" fmla="*/ 214352 w 598508"/>
                  <a:gd name="connsiteY35" fmla="*/ 38064 h 573989"/>
                  <a:gd name="connsiteX36" fmla="*/ 116960 w 598508"/>
                  <a:gd name="connsiteY36" fmla="*/ 75939 h 573989"/>
                  <a:gd name="connsiteX37" fmla="*/ 35800 w 598508"/>
                  <a:gd name="connsiteY37" fmla="*/ 130045 h 573989"/>
                  <a:gd name="connsiteX38" fmla="*/ 19568 w 598508"/>
                  <a:gd name="connsiteY38" fmla="*/ 189562 h 573989"/>
                  <a:gd name="connsiteX39" fmla="*/ 8747 w 598508"/>
                  <a:gd name="connsiteY39" fmla="*/ 222026 h 573989"/>
                  <a:gd name="connsiteX40" fmla="*/ 19568 w 598508"/>
                  <a:gd name="connsiteY40" fmla="*/ 465506 h 573989"/>
                  <a:gd name="connsiteX41" fmla="*/ 52032 w 598508"/>
                  <a:gd name="connsiteY41" fmla="*/ 492559 h 573989"/>
                  <a:gd name="connsiteX42" fmla="*/ 84496 w 598508"/>
                  <a:gd name="connsiteY42" fmla="*/ 514201 h 573989"/>
                  <a:gd name="connsiteX43" fmla="*/ 106139 w 598508"/>
                  <a:gd name="connsiteY43" fmla="*/ 541255 h 573989"/>
                  <a:gd name="connsiteX44" fmla="*/ 122371 w 598508"/>
                  <a:gd name="connsiteY44" fmla="*/ 573719 h 573989"/>
                  <a:gd name="connsiteX45" fmla="*/ 106139 w 598508"/>
                  <a:gd name="connsiteY45" fmla="*/ 557487 h 573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98508" h="573989">
                    <a:moveTo>
                      <a:pt x="106139" y="557487"/>
                    </a:moveTo>
                    <a:cubicBezTo>
                      <a:pt x="107942" y="553880"/>
                      <a:pt x="125207" y="556639"/>
                      <a:pt x="133192" y="552076"/>
                    </a:cubicBezTo>
                    <a:cubicBezTo>
                      <a:pt x="138838" y="548850"/>
                      <a:pt x="139951" y="540922"/>
                      <a:pt x="144013" y="535844"/>
                    </a:cubicBezTo>
                    <a:cubicBezTo>
                      <a:pt x="147200" y="531861"/>
                      <a:pt x="150590" y="527853"/>
                      <a:pt x="154835" y="525023"/>
                    </a:cubicBezTo>
                    <a:cubicBezTo>
                      <a:pt x="161546" y="520549"/>
                      <a:pt x="169914" y="518889"/>
                      <a:pt x="176477" y="514201"/>
                    </a:cubicBezTo>
                    <a:cubicBezTo>
                      <a:pt x="182703" y="509754"/>
                      <a:pt x="186899" y="502949"/>
                      <a:pt x="192709" y="497970"/>
                    </a:cubicBezTo>
                    <a:cubicBezTo>
                      <a:pt x="199556" y="492101"/>
                      <a:pt x="207014" y="486980"/>
                      <a:pt x="214352" y="481738"/>
                    </a:cubicBezTo>
                    <a:cubicBezTo>
                      <a:pt x="219644" y="477958"/>
                      <a:pt x="225588" y="475079"/>
                      <a:pt x="230584" y="470916"/>
                    </a:cubicBezTo>
                    <a:cubicBezTo>
                      <a:pt x="236462" y="466017"/>
                      <a:pt x="240938" y="459583"/>
                      <a:pt x="246816" y="454684"/>
                    </a:cubicBezTo>
                    <a:cubicBezTo>
                      <a:pt x="251812" y="450521"/>
                      <a:pt x="258052" y="448026"/>
                      <a:pt x="263048" y="443863"/>
                    </a:cubicBezTo>
                    <a:cubicBezTo>
                      <a:pt x="268926" y="438965"/>
                      <a:pt x="273401" y="432529"/>
                      <a:pt x="279279" y="427631"/>
                    </a:cubicBezTo>
                    <a:cubicBezTo>
                      <a:pt x="284275" y="423468"/>
                      <a:pt x="290617" y="421092"/>
                      <a:pt x="295511" y="416810"/>
                    </a:cubicBezTo>
                    <a:cubicBezTo>
                      <a:pt x="305109" y="408412"/>
                      <a:pt x="311953" y="396830"/>
                      <a:pt x="322565" y="389756"/>
                    </a:cubicBezTo>
                    <a:cubicBezTo>
                      <a:pt x="338525" y="379116"/>
                      <a:pt x="342010" y="378326"/>
                      <a:pt x="355029" y="362703"/>
                    </a:cubicBezTo>
                    <a:cubicBezTo>
                      <a:pt x="373474" y="340569"/>
                      <a:pt x="359035" y="351284"/>
                      <a:pt x="376671" y="324829"/>
                    </a:cubicBezTo>
                    <a:cubicBezTo>
                      <a:pt x="379501" y="320584"/>
                      <a:pt x="384305" y="317990"/>
                      <a:pt x="387492" y="314007"/>
                    </a:cubicBezTo>
                    <a:cubicBezTo>
                      <a:pt x="391554" y="308929"/>
                      <a:pt x="393716" y="302373"/>
                      <a:pt x="398314" y="297775"/>
                    </a:cubicBezTo>
                    <a:cubicBezTo>
                      <a:pt x="404690" y="291399"/>
                      <a:pt x="413579" y="287919"/>
                      <a:pt x="419956" y="281543"/>
                    </a:cubicBezTo>
                    <a:cubicBezTo>
                      <a:pt x="424554" y="276945"/>
                      <a:pt x="426716" y="270390"/>
                      <a:pt x="430778" y="265312"/>
                    </a:cubicBezTo>
                    <a:cubicBezTo>
                      <a:pt x="433965" y="261329"/>
                      <a:pt x="438769" y="258735"/>
                      <a:pt x="441599" y="254490"/>
                    </a:cubicBezTo>
                    <a:cubicBezTo>
                      <a:pt x="446073" y="247779"/>
                      <a:pt x="447468" y="239214"/>
                      <a:pt x="452420" y="232848"/>
                    </a:cubicBezTo>
                    <a:cubicBezTo>
                      <a:pt x="460250" y="222781"/>
                      <a:pt x="473771" y="217201"/>
                      <a:pt x="479474" y="205794"/>
                    </a:cubicBezTo>
                    <a:cubicBezTo>
                      <a:pt x="483081" y="198580"/>
                      <a:pt x="485821" y="190863"/>
                      <a:pt x="490295" y="184152"/>
                    </a:cubicBezTo>
                    <a:cubicBezTo>
                      <a:pt x="493125" y="179907"/>
                      <a:pt x="497929" y="177313"/>
                      <a:pt x="501116" y="173330"/>
                    </a:cubicBezTo>
                    <a:cubicBezTo>
                      <a:pt x="505178" y="168252"/>
                      <a:pt x="507875" y="162177"/>
                      <a:pt x="511937" y="157099"/>
                    </a:cubicBezTo>
                    <a:cubicBezTo>
                      <a:pt x="526490" y="138908"/>
                      <a:pt x="523354" y="151092"/>
                      <a:pt x="544401" y="130045"/>
                    </a:cubicBezTo>
                    <a:cubicBezTo>
                      <a:pt x="548999" y="125447"/>
                      <a:pt x="551616" y="119224"/>
                      <a:pt x="555223" y="113813"/>
                    </a:cubicBezTo>
                    <a:cubicBezTo>
                      <a:pt x="557026" y="108402"/>
                      <a:pt x="557699" y="102472"/>
                      <a:pt x="560633" y="97581"/>
                    </a:cubicBezTo>
                    <a:cubicBezTo>
                      <a:pt x="563258" y="93207"/>
                      <a:pt x="568268" y="90743"/>
                      <a:pt x="571455" y="86760"/>
                    </a:cubicBezTo>
                    <a:cubicBezTo>
                      <a:pt x="575517" y="81682"/>
                      <a:pt x="579368" y="76344"/>
                      <a:pt x="582276" y="70528"/>
                    </a:cubicBezTo>
                    <a:cubicBezTo>
                      <a:pt x="584827" y="65427"/>
                      <a:pt x="585440" y="59538"/>
                      <a:pt x="587687" y="54296"/>
                    </a:cubicBezTo>
                    <a:cubicBezTo>
                      <a:pt x="590864" y="46883"/>
                      <a:pt x="594901" y="39868"/>
                      <a:pt x="598508" y="32654"/>
                    </a:cubicBezTo>
                    <a:cubicBezTo>
                      <a:pt x="594901" y="23636"/>
                      <a:pt x="595457" y="11428"/>
                      <a:pt x="587687" y="5600"/>
                    </a:cubicBezTo>
                    <a:cubicBezTo>
                      <a:pt x="578911" y="-982"/>
                      <a:pt x="566191" y="-65"/>
                      <a:pt x="555223" y="190"/>
                    </a:cubicBezTo>
                    <a:cubicBezTo>
                      <a:pt x="488412" y="1744"/>
                      <a:pt x="421760" y="7404"/>
                      <a:pt x="355029" y="11011"/>
                    </a:cubicBezTo>
                    <a:cubicBezTo>
                      <a:pt x="308137" y="20029"/>
                      <a:pt x="259653" y="22964"/>
                      <a:pt x="214352" y="38064"/>
                    </a:cubicBezTo>
                    <a:cubicBezTo>
                      <a:pt x="175655" y="50963"/>
                      <a:pt x="153416" y="56639"/>
                      <a:pt x="116960" y="75939"/>
                    </a:cubicBezTo>
                    <a:cubicBezTo>
                      <a:pt x="89703" y="90369"/>
                      <a:pt x="60909" y="112111"/>
                      <a:pt x="35800" y="130045"/>
                    </a:cubicBezTo>
                    <a:cubicBezTo>
                      <a:pt x="3100" y="228149"/>
                      <a:pt x="42511" y="105438"/>
                      <a:pt x="19568" y="189562"/>
                    </a:cubicBezTo>
                    <a:cubicBezTo>
                      <a:pt x="16567" y="200567"/>
                      <a:pt x="12354" y="211205"/>
                      <a:pt x="8747" y="222026"/>
                    </a:cubicBezTo>
                    <a:cubicBezTo>
                      <a:pt x="-5447" y="321381"/>
                      <a:pt x="-2733" y="282643"/>
                      <a:pt x="19568" y="465506"/>
                    </a:cubicBezTo>
                    <a:cubicBezTo>
                      <a:pt x="21671" y="482746"/>
                      <a:pt x="40937" y="485902"/>
                      <a:pt x="52032" y="492559"/>
                    </a:cubicBezTo>
                    <a:cubicBezTo>
                      <a:pt x="63184" y="499250"/>
                      <a:pt x="84496" y="514201"/>
                      <a:pt x="84496" y="514201"/>
                    </a:cubicBezTo>
                    <a:cubicBezTo>
                      <a:pt x="98097" y="555003"/>
                      <a:pt x="78168" y="506289"/>
                      <a:pt x="106139" y="541255"/>
                    </a:cubicBezTo>
                    <a:cubicBezTo>
                      <a:pt x="106746" y="542014"/>
                      <a:pt x="116206" y="577418"/>
                      <a:pt x="122371" y="573719"/>
                    </a:cubicBezTo>
                    <a:cubicBezTo>
                      <a:pt x="132746" y="567494"/>
                      <a:pt x="104336" y="561094"/>
                      <a:pt x="106139" y="5574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765100-5381-1CD9-B05D-EDD9AAD9A3F5}"/>
                </a:ext>
              </a:extLst>
            </p:cNvPr>
            <p:cNvSpPr txBox="1"/>
            <p:nvPr/>
          </p:nvSpPr>
          <p:spPr>
            <a:xfrm>
              <a:off x="6832210" y="1004373"/>
              <a:ext cx="3735475" cy="436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Parametric funnel geometry, adaptable for different slot sizes.</a:t>
              </a:r>
              <a:endParaRPr lang="en-IN" sz="1600" dirty="0" err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57B04A5-9C72-0783-3182-F48AD99D4EFE}"/>
                </a:ext>
              </a:extLst>
            </p:cNvPr>
            <p:cNvSpPr txBox="1"/>
            <p:nvPr/>
          </p:nvSpPr>
          <p:spPr>
            <a:xfrm>
              <a:off x="6952874" y="3416508"/>
              <a:ext cx="3425512" cy="5032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Inner and outer guide rails to maintain precise alignment with the stator slot.</a:t>
              </a:r>
              <a:endParaRPr lang="en-IN" sz="1600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F65A7C-161A-41F6-8C92-5A1ED94A91BB}"/>
                </a:ext>
              </a:extLst>
            </p:cNvPr>
            <p:cNvSpPr txBox="1"/>
            <p:nvPr/>
          </p:nvSpPr>
          <p:spPr>
            <a:xfrm>
              <a:off x="6479508" y="4734078"/>
              <a:ext cx="3168648" cy="419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Cheap and Easily prototyped.</a:t>
              </a:r>
              <a:br>
                <a:rPr lang="en-IN" sz="1600" dirty="0"/>
              </a:br>
              <a:r>
                <a:rPr lang="en-IN" sz="1600" dirty="0"/>
                <a:t>Material used - PLA</a:t>
              </a:r>
              <a:endParaRPr lang="en-US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E8ABEBF-50EE-0419-1E8F-B45B623A6C91}"/>
                </a:ext>
              </a:extLst>
            </p:cNvPr>
            <p:cNvSpPr txBox="1"/>
            <p:nvPr/>
          </p:nvSpPr>
          <p:spPr>
            <a:xfrm>
              <a:off x="6901416" y="2098234"/>
              <a:ext cx="3546176" cy="602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Flared, tapered internal channel, that guides the slot liner smoothly towards the stator slot.</a:t>
              </a:r>
              <a:endParaRPr lang="en-IN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3E7B2E-6F9D-7E47-B942-2E6AAF56D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B91CA9-4B34-6D6A-1EA4-F5B1D6C22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15A79B-A8CF-DB53-6B86-1890CE1E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 and Limitations of the Initial prototype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2BC243-DCB2-C2B4-9FAC-D8F23009C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4F70986-0560-E7DE-A1BF-0CEAED0110F0}"/>
              </a:ext>
            </a:extLst>
          </p:cNvPr>
          <p:cNvGrpSpPr/>
          <p:nvPr/>
        </p:nvGrpSpPr>
        <p:grpSpPr>
          <a:xfrm>
            <a:off x="911424" y="850637"/>
            <a:ext cx="4283169" cy="5234207"/>
            <a:chOff x="1380784" y="945886"/>
            <a:chExt cx="4283169" cy="52342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FB2DAB-77C2-462C-8E0C-A11BBA38300B}"/>
                </a:ext>
              </a:extLst>
            </p:cNvPr>
            <p:cNvGrpSpPr/>
            <p:nvPr/>
          </p:nvGrpSpPr>
          <p:grpSpPr>
            <a:xfrm>
              <a:off x="1380784" y="945886"/>
              <a:ext cx="4283169" cy="2532804"/>
              <a:chOff x="2037493" y="2067688"/>
              <a:chExt cx="2372728" cy="2532804"/>
            </a:xfrm>
          </p:grpSpPr>
          <p:sp>
            <p:nvSpPr>
              <p:cNvPr id="39" name="Rectangle: Top Corners Rounded 38">
                <a:extLst>
                  <a:ext uri="{FF2B5EF4-FFF2-40B4-BE49-F238E27FC236}">
                    <a16:creationId xmlns:a16="http://schemas.microsoft.com/office/drawing/2014/main" id="{3B24B5B3-0446-8A3F-25A8-1FF6A1DCA81B}"/>
                  </a:ext>
                </a:extLst>
              </p:cNvPr>
              <p:cNvSpPr/>
              <p:nvPr/>
            </p:nvSpPr>
            <p:spPr>
              <a:xfrm>
                <a:off x="2037493" y="2067688"/>
                <a:ext cx="2372728" cy="1771191"/>
              </a:xfrm>
              <a:prstGeom prst="round2SameRect">
                <a:avLst>
                  <a:gd name="adj1" fmla="val 8000"/>
                  <a:gd name="adj2" fmla="val 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FD853D2-FBA4-4AB6-F6B0-3BE46C5A7254}"/>
                  </a:ext>
                </a:extLst>
              </p:cNvPr>
              <p:cNvSpPr/>
              <p:nvPr/>
            </p:nvSpPr>
            <p:spPr>
              <a:xfrm>
                <a:off x="2037493" y="3838880"/>
                <a:ext cx="2372728" cy="761612"/>
              </a:xfrm>
              <a:custGeom>
                <a:avLst/>
                <a:gdLst>
                  <a:gd name="connsiteX0" fmla="*/ 0 w 2372728"/>
                  <a:gd name="connsiteY0" fmla="*/ 0 h 761612"/>
                  <a:gd name="connsiteX1" fmla="*/ 2372728 w 2372728"/>
                  <a:gd name="connsiteY1" fmla="*/ 0 h 761612"/>
                  <a:gd name="connsiteX2" fmla="*/ 2372728 w 2372728"/>
                  <a:gd name="connsiteY2" fmla="*/ 761612 h 761612"/>
                  <a:gd name="connsiteX3" fmla="*/ 0 w 2372728"/>
                  <a:gd name="connsiteY3" fmla="*/ 761612 h 761612"/>
                  <a:gd name="connsiteX4" fmla="*/ 0 w 2372728"/>
                  <a:gd name="connsiteY4" fmla="*/ 0 h 76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2728" h="761612">
                    <a:moveTo>
                      <a:pt x="0" y="0"/>
                    </a:moveTo>
                    <a:lnTo>
                      <a:pt x="2372728" y="0"/>
                    </a:lnTo>
                    <a:lnTo>
                      <a:pt x="2372728" y="761612"/>
                    </a:lnTo>
                    <a:lnTo>
                      <a:pt x="0" y="76161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79070" tIns="0" rIns="761483" bIns="0" numCol="1" spcCol="1270" anchor="ctr" anchorCtr="0">
                <a:noAutofit/>
              </a:bodyPr>
              <a:lstStyle/>
              <a:p>
                <a:pPr marL="0" lvl="0" indent="0" algn="l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4700" kern="1200"/>
              </a:p>
            </p:txBody>
          </p:sp>
        </p:grpSp>
        <p:pic>
          <p:nvPicPr>
            <p:cNvPr id="35" name="Picture 34" descr="A grey rectangular object with a white background&#10;&#10;AI-generated content may be incorrect.">
              <a:extLst>
                <a:ext uri="{FF2B5EF4-FFF2-40B4-BE49-F238E27FC236}">
                  <a16:creationId xmlns:a16="http://schemas.microsoft.com/office/drawing/2014/main" id="{F2DAD98F-4E1B-8F24-9E76-59EF323B6E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0" t="8573" b="4761"/>
            <a:stretch>
              <a:fillRect/>
            </a:stretch>
          </p:blipFill>
          <p:spPr bwMode="auto">
            <a:xfrm>
              <a:off x="2639616" y="1252426"/>
              <a:ext cx="2400300" cy="134574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7EECBF5-E9BE-E480-3897-A4DAEF242869}"/>
                </a:ext>
              </a:extLst>
            </p:cNvPr>
            <p:cNvGrpSpPr/>
            <p:nvPr/>
          </p:nvGrpSpPr>
          <p:grpSpPr>
            <a:xfrm>
              <a:off x="1380784" y="3647289"/>
              <a:ext cx="4283169" cy="2532804"/>
              <a:chOff x="1812830" y="3681641"/>
              <a:chExt cx="4283169" cy="2532804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0BD96084-B011-9182-E282-F9B350A3CF1C}"/>
                  </a:ext>
                </a:extLst>
              </p:cNvPr>
              <p:cNvGrpSpPr/>
              <p:nvPr/>
            </p:nvGrpSpPr>
            <p:grpSpPr>
              <a:xfrm>
                <a:off x="1812830" y="3681641"/>
                <a:ext cx="4283169" cy="2532804"/>
                <a:chOff x="4811744" y="2067688"/>
                <a:chExt cx="2372728" cy="2532804"/>
              </a:xfrm>
            </p:grpSpPr>
            <p:sp>
              <p:nvSpPr>
                <p:cNvPr id="42" name="Rectangle: Top Corners Rounded 41">
                  <a:extLst>
                    <a:ext uri="{FF2B5EF4-FFF2-40B4-BE49-F238E27FC236}">
                      <a16:creationId xmlns:a16="http://schemas.microsoft.com/office/drawing/2014/main" id="{7B595EA5-482A-8A93-DB26-9AB5AB81798A}"/>
                    </a:ext>
                  </a:extLst>
                </p:cNvPr>
                <p:cNvSpPr/>
                <p:nvPr/>
              </p:nvSpPr>
              <p:spPr>
                <a:xfrm>
                  <a:off x="4811744" y="2067688"/>
                  <a:ext cx="2372728" cy="1771191"/>
                </a:xfrm>
                <a:prstGeom prst="round2SameRect">
                  <a:avLst>
                    <a:gd name="adj1" fmla="val 8000"/>
                    <a:gd name="adj2" fmla="val 0"/>
                  </a:avLst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4EEF1E6-4861-E4D6-D030-DACCE9252FB9}"/>
                    </a:ext>
                  </a:extLst>
                </p:cNvPr>
                <p:cNvSpPr/>
                <p:nvPr/>
              </p:nvSpPr>
              <p:spPr>
                <a:xfrm>
                  <a:off x="4811744" y="3838880"/>
                  <a:ext cx="2372728" cy="761612"/>
                </a:xfrm>
                <a:custGeom>
                  <a:avLst/>
                  <a:gdLst>
                    <a:gd name="connsiteX0" fmla="*/ 0 w 2372728"/>
                    <a:gd name="connsiteY0" fmla="*/ 0 h 761612"/>
                    <a:gd name="connsiteX1" fmla="*/ 2372728 w 2372728"/>
                    <a:gd name="connsiteY1" fmla="*/ 0 h 761612"/>
                    <a:gd name="connsiteX2" fmla="*/ 2372728 w 2372728"/>
                    <a:gd name="connsiteY2" fmla="*/ 761612 h 761612"/>
                    <a:gd name="connsiteX3" fmla="*/ 0 w 2372728"/>
                    <a:gd name="connsiteY3" fmla="*/ 761612 h 761612"/>
                    <a:gd name="connsiteX4" fmla="*/ 0 w 2372728"/>
                    <a:gd name="connsiteY4" fmla="*/ 0 h 761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2728" h="761612">
                      <a:moveTo>
                        <a:pt x="0" y="0"/>
                      </a:moveTo>
                      <a:lnTo>
                        <a:pt x="2372728" y="0"/>
                      </a:lnTo>
                      <a:lnTo>
                        <a:pt x="2372728" y="761612"/>
                      </a:lnTo>
                      <a:lnTo>
                        <a:pt x="0" y="7616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79070" tIns="0" rIns="761483" bIns="0" numCol="1" spcCol="1270" anchor="ctr" anchorCtr="0">
                  <a:noAutofit/>
                </a:bodyPr>
                <a:lstStyle/>
                <a:p>
                  <a:pPr marL="0" lvl="0" indent="0" algn="l" defTabSz="20891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4700" kern="1200"/>
                </a:p>
              </p:txBody>
            </p:sp>
          </p:grpSp>
          <p:pic>
            <p:nvPicPr>
              <p:cNvPr id="30" name="Picture 29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C0B0ADE0-74F6-9838-B8F2-B879408C92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0"/>
              <a:stretch>
                <a:fillRect/>
              </a:stretch>
            </p:blipFill>
            <p:spPr bwMode="auto">
              <a:xfrm>
                <a:off x="2151951" y="3878511"/>
                <a:ext cx="3788410" cy="150939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393E84-D2BD-426E-27FD-D977E644D368}"/>
                </a:ext>
              </a:extLst>
            </p:cNvPr>
            <p:cNvSpPr txBox="1"/>
            <p:nvPr/>
          </p:nvSpPr>
          <p:spPr>
            <a:xfrm>
              <a:off x="2722206" y="2982798"/>
              <a:ext cx="1783807" cy="320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Initial Prototype</a:t>
              </a:r>
              <a:endParaRPr lang="en-IN" sz="1800" dirty="0" err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C47A68-1F61-373C-FA2E-43113C43D29A}"/>
                </a:ext>
              </a:extLst>
            </p:cNvPr>
            <p:cNvSpPr txBox="1"/>
            <p:nvPr/>
          </p:nvSpPr>
          <p:spPr>
            <a:xfrm>
              <a:off x="2923919" y="5688147"/>
              <a:ext cx="2082421" cy="322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Final Prototype</a:t>
              </a:r>
              <a:endParaRPr lang="en-IN" sz="1800" dirty="0" err="1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0541A70-AFA0-D9BC-8D81-F9AC6B9B91C2}"/>
              </a:ext>
            </a:extLst>
          </p:cNvPr>
          <p:cNvSpPr txBox="1"/>
          <p:nvPr/>
        </p:nvSpPr>
        <p:spPr>
          <a:xfrm>
            <a:off x="5808621" y="1442317"/>
            <a:ext cx="5616624" cy="3528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u="sng" dirty="0"/>
              <a:t>Prototype Evaluation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initial prototype confirmed the feasibility of the parametric funnel concept but revealed key weakness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ree external guide rails made insertion process-sensitive and dependent on precise align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rt tail section and wide inlet shifted the center of gravity forward, causing funnel ins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mplex geometry reduced adaptability across stator typ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indings guided redesign for improved tolerance, locking, and stability in automated use.</a:t>
            </a:r>
          </a:p>
        </p:txBody>
      </p:sp>
    </p:spTree>
    <p:extLst>
      <p:ext uri="{BB962C8B-B14F-4D97-AF65-F5344CB8AC3E}">
        <p14:creationId xmlns:p14="http://schemas.microsoft.com/office/powerpoint/2010/main" val="4288030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 Development: Addressing the Shortcomings of the Initial Funne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95400" y="1340768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AF7854-EE4B-E3A4-1567-F708801E0172}"/>
              </a:ext>
            </a:extLst>
          </p:cNvPr>
          <p:cNvGrpSpPr/>
          <p:nvPr/>
        </p:nvGrpSpPr>
        <p:grpSpPr>
          <a:xfrm>
            <a:off x="1989553" y="575033"/>
            <a:ext cx="8930982" cy="5418667"/>
            <a:chOff x="2745794" y="351186"/>
            <a:chExt cx="8930982" cy="541866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9655870-638F-68DE-6B4A-2B53D6628660}"/>
                </a:ext>
              </a:extLst>
            </p:cNvPr>
            <p:cNvGrpSpPr/>
            <p:nvPr/>
          </p:nvGrpSpPr>
          <p:grpSpPr>
            <a:xfrm>
              <a:off x="2745794" y="351186"/>
              <a:ext cx="8930982" cy="5418667"/>
              <a:chOff x="2745794" y="351186"/>
              <a:chExt cx="8930982" cy="541866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5E557CC-D626-AA84-9084-61B11141FE35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745794" y="351186"/>
                <a:chExt cx="8930982" cy="5418667"/>
              </a:xfrm>
            </p:grpSpPr>
            <p:sp>
              <p:nvSpPr>
                <p:cNvPr id="28" name="Flowchart: Process 27">
                  <a:extLst>
                    <a:ext uri="{FF2B5EF4-FFF2-40B4-BE49-F238E27FC236}">
                      <a16:creationId xmlns:a16="http://schemas.microsoft.com/office/drawing/2014/main" id="{3B493A69-D7FD-9400-5E83-F6DE604FC432}"/>
                    </a:ext>
                  </a:extLst>
                </p:cNvPr>
                <p:cNvSpPr/>
                <p:nvPr/>
              </p:nvSpPr>
              <p:spPr>
                <a:xfrm>
                  <a:off x="7320136" y="3264378"/>
                  <a:ext cx="4356640" cy="799302"/>
                </a:xfrm>
                <a:prstGeom prst="flowChartProcess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831BF71-C609-75BD-9E1D-EFDC3C81F301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930982" cy="5418667"/>
                  <a:chOff x="2131008" y="719666"/>
                  <a:chExt cx="9697534" cy="5418667"/>
                </a:xfrm>
              </p:grpSpPr>
              <p:sp>
                <p:nvSpPr>
                  <p:cNvPr id="30" name="Flowchart: Process 29">
                    <a:extLst>
                      <a:ext uri="{FF2B5EF4-FFF2-40B4-BE49-F238E27FC236}">
                        <a16:creationId xmlns:a16="http://schemas.microsoft.com/office/drawing/2014/main" id="{A81B166F-61F5-FDCF-BB91-53F427F7C7A1}"/>
                      </a:ext>
                    </a:extLst>
                  </p:cNvPr>
                  <p:cNvSpPr/>
                  <p:nvPr/>
                </p:nvSpPr>
                <p:spPr>
                  <a:xfrm>
                    <a:off x="6174659" y="4926599"/>
                    <a:ext cx="5653883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1" name="Flowchart: Process 30">
                    <a:extLst>
                      <a:ext uri="{FF2B5EF4-FFF2-40B4-BE49-F238E27FC236}">
                        <a16:creationId xmlns:a16="http://schemas.microsoft.com/office/drawing/2014/main" id="{18BE9940-7B09-C4F6-C7D1-437E2C43FC0F}"/>
                      </a:ext>
                    </a:extLst>
                  </p:cNvPr>
                  <p:cNvSpPr/>
                  <p:nvPr/>
                </p:nvSpPr>
                <p:spPr>
                  <a:xfrm>
                    <a:off x="7097968" y="2416761"/>
                    <a:ext cx="4730574" cy="799301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2" name="Flowchart: Process 31">
                    <a:extLst>
                      <a:ext uri="{FF2B5EF4-FFF2-40B4-BE49-F238E27FC236}">
                        <a16:creationId xmlns:a16="http://schemas.microsoft.com/office/drawing/2014/main" id="{027F678B-AF6C-4FFA-78BF-B70377D9DB97}"/>
                      </a:ext>
                    </a:extLst>
                  </p:cNvPr>
                  <p:cNvSpPr/>
                  <p:nvPr/>
                </p:nvSpPr>
                <p:spPr>
                  <a:xfrm>
                    <a:off x="6112574" y="1176459"/>
                    <a:ext cx="5715968" cy="823505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3" name="Block Arc 32">
                    <a:extLst>
                      <a:ext uri="{FF2B5EF4-FFF2-40B4-BE49-F238E27FC236}">
                        <a16:creationId xmlns:a16="http://schemas.microsoft.com/office/drawing/2014/main" id="{706D8671-E755-E5D8-633B-3977617B9900}"/>
                      </a:ext>
                    </a:extLst>
                  </p:cNvPr>
                  <p:cNvSpPr/>
                  <p:nvPr/>
                </p:nvSpPr>
                <p:spPr>
                  <a:xfrm>
                    <a:off x="2131008" y="719666"/>
                    <a:ext cx="5310926" cy="5418667"/>
                  </a:xfrm>
                  <a:prstGeom prst="blockArc">
                    <a:avLst>
                      <a:gd name="adj1" fmla="val 17527788"/>
                      <a:gd name="adj2" fmla="val 4119114"/>
                      <a:gd name="adj3" fmla="val 5750"/>
                    </a:avLst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3F750A4E-4A22-44EC-DFF9-9D6471CF0FE4}"/>
                      </a:ext>
                    </a:extLst>
                  </p:cNvPr>
                  <p:cNvSpPr/>
                  <p:nvPr/>
                </p:nvSpPr>
                <p:spPr>
                  <a:xfrm>
                    <a:off x="7557498" y="1198676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A317F0A-920C-0D9F-9CDF-6463CAA51317}"/>
                      </a:ext>
                    </a:extLst>
                  </p:cNvPr>
                  <p:cNvSpPr/>
                  <p:nvPr/>
                </p:nvSpPr>
                <p:spPr>
                  <a:xfrm>
                    <a:off x="8099107" y="2767922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5244548F-FCC2-088C-D4C5-B5BBABACFA8E}"/>
                      </a:ext>
                    </a:extLst>
                  </p:cNvPr>
                  <p:cNvSpPr/>
                  <p:nvPr/>
                </p:nvSpPr>
                <p:spPr>
                  <a:xfrm>
                    <a:off x="7557498" y="4370763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</p:grp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47D87F5-F21B-EE2C-5FAA-27FFA87D066A}"/>
                  </a:ext>
                </a:extLst>
              </p:cNvPr>
              <p:cNvSpPr/>
              <p:nvPr/>
            </p:nvSpPr>
            <p:spPr>
              <a:xfrm>
                <a:off x="6317673" y="1063949"/>
                <a:ext cx="602672" cy="757924"/>
              </a:xfrm>
              <a:custGeom>
                <a:avLst/>
                <a:gdLst>
                  <a:gd name="connsiteX0" fmla="*/ 20782 w 602672"/>
                  <a:gd name="connsiteY0" fmla="*/ 2851 h 757924"/>
                  <a:gd name="connsiteX1" fmla="*/ 55418 w 602672"/>
                  <a:gd name="connsiteY1" fmla="*/ 9778 h 757924"/>
                  <a:gd name="connsiteX2" fmla="*/ 117763 w 602672"/>
                  <a:gd name="connsiteY2" fmla="*/ 44415 h 757924"/>
                  <a:gd name="connsiteX3" fmla="*/ 138545 w 602672"/>
                  <a:gd name="connsiteY3" fmla="*/ 65196 h 757924"/>
                  <a:gd name="connsiteX4" fmla="*/ 187036 w 602672"/>
                  <a:gd name="connsiteY4" fmla="*/ 92906 h 757924"/>
                  <a:gd name="connsiteX5" fmla="*/ 263236 w 602672"/>
                  <a:gd name="connsiteY5" fmla="*/ 162178 h 757924"/>
                  <a:gd name="connsiteX6" fmla="*/ 290945 w 602672"/>
                  <a:gd name="connsiteY6" fmla="*/ 189887 h 757924"/>
                  <a:gd name="connsiteX7" fmla="*/ 318654 w 602672"/>
                  <a:gd name="connsiteY7" fmla="*/ 210669 h 757924"/>
                  <a:gd name="connsiteX8" fmla="*/ 353291 w 602672"/>
                  <a:gd name="connsiteY8" fmla="*/ 252233 h 757924"/>
                  <a:gd name="connsiteX9" fmla="*/ 374072 w 602672"/>
                  <a:gd name="connsiteY9" fmla="*/ 259160 h 757924"/>
                  <a:gd name="connsiteX10" fmla="*/ 401782 w 602672"/>
                  <a:gd name="connsiteY10" fmla="*/ 279942 h 757924"/>
                  <a:gd name="connsiteX11" fmla="*/ 422563 w 602672"/>
                  <a:gd name="connsiteY11" fmla="*/ 293796 h 757924"/>
                  <a:gd name="connsiteX12" fmla="*/ 436418 w 602672"/>
                  <a:gd name="connsiteY12" fmla="*/ 321506 h 757924"/>
                  <a:gd name="connsiteX13" fmla="*/ 457200 w 602672"/>
                  <a:gd name="connsiteY13" fmla="*/ 335360 h 757924"/>
                  <a:gd name="connsiteX14" fmla="*/ 477982 w 602672"/>
                  <a:gd name="connsiteY14" fmla="*/ 356142 h 757924"/>
                  <a:gd name="connsiteX15" fmla="*/ 491836 w 602672"/>
                  <a:gd name="connsiteY15" fmla="*/ 383851 h 757924"/>
                  <a:gd name="connsiteX16" fmla="*/ 519545 w 602672"/>
                  <a:gd name="connsiteY16" fmla="*/ 432342 h 757924"/>
                  <a:gd name="connsiteX17" fmla="*/ 526472 w 602672"/>
                  <a:gd name="connsiteY17" fmla="*/ 453124 h 757924"/>
                  <a:gd name="connsiteX18" fmla="*/ 554182 w 602672"/>
                  <a:gd name="connsiteY18" fmla="*/ 494687 h 757924"/>
                  <a:gd name="connsiteX19" fmla="*/ 581891 w 602672"/>
                  <a:gd name="connsiteY19" fmla="*/ 543178 h 757924"/>
                  <a:gd name="connsiteX20" fmla="*/ 602672 w 602672"/>
                  <a:gd name="connsiteY20" fmla="*/ 612451 h 757924"/>
                  <a:gd name="connsiteX21" fmla="*/ 588818 w 602672"/>
                  <a:gd name="connsiteY21" fmla="*/ 681724 h 757924"/>
                  <a:gd name="connsiteX22" fmla="*/ 547254 w 602672"/>
                  <a:gd name="connsiteY22" fmla="*/ 723287 h 757924"/>
                  <a:gd name="connsiteX23" fmla="*/ 498763 w 602672"/>
                  <a:gd name="connsiteY23" fmla="*/ 737142 h 757924"/>
                  <a:gd name="connsiteX24" fmla="*/ 381000 w 602672"/>
                  <a:gd name="connsiteY24" fmla="*/ 757924 h 757924"/>
                  <a:gd name="connsiteX25" fmla="*/ 145472 w 602672"/>
                  <a:gd name="connsiteY25" fmla="*/ 702506 h 757924"/>
                  <a:gd name="connsiteX26" fmla="*/ 90054 w 602672"/>
                  <a:gd name="connsiteY26" fmla="*/ 647087 h 757924"/>
                  <a:gd name="connsiteX27" fmla="*/ 13854 w 602672"/>
                  <a:gd name="connsiteY27" fmla="*/ 439269 h 757924"/>
                  <a:gd name="connsiteX28" fmla="*/ 0 w 602672"/>
                  <a:gd name="connsiteY28" fmla="*/ 342287 h 757924"/>
                  <a:gd name="connsiteX29" fmla="*/ 6927 w 602672"/>
                  <a:gd name="connsiteY29" fmla="*/ 79051 h 757924"/>
                  <a:gd name="connsiteX30" fmla="*/ 20782 w 602672"/>
                  <a:gd name="connsiteY30" fmla="*/ 58269 h 757924"/>
                  <a:gd name="connsiteX31" fmla="*/ 20782 w 602672"/>
                  <a:gd name="connsiteY31" fmla="*/ 2851 h 75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2672" h="757924">
                    <a:moveTo>
                      <a:pt x="20782" y="2851"/>
                    </a:moveTo>
                    <a:cubicBezTo>
                      <a:pt x="26555" y="-5231"/>
                      <a:pt x="44248" y="6055"/>
                      <a:pt x="55418" y="9778"/>
                    </a:cubicBezTo>
                    <a:cubicBezTo>
                      <a:pt x="67260" y="13725"/>
                      <a:pt x="110661" y="39089"/>
                      <a:pt x="117763" y="44415"/>
                    </a:cubicBezTo>
                    <a:cubicBezTo>
                      <a:pt x="125600" y="50293"/>
                      <a:pt x="131019" y="58925"/>
                      <a:pt x="138545" y="65196"/>
                    </a:cubicBezTo>
                    <a:cubicBezTo>
                      <a:pt x="161427" y="84264"/>
                      <a:pt x="159933" y="75966"/>
                      <a:pt x="187036" y="92906"/>
                    </a:cubicBezTo>
                    <a:cubicBezTo>
                      <a:pt x="217703" y="112073"/>
                      <a:pt x="236932" y="135874"/>
                      <a:pt x="263236" y="162178"/>
                    </a:cubicBezTo>
                    <a:cubicBezTo>
                      <a:pt x="272472" y="171414"/>
                      <a:pt x="280495" y="182050"/>
                      <a:pt x="290945" y="189887"/>
                    </a:cubicBezTo>
                    <a:cubicBezTo>
                      <a:pt x="300181" y="196814"/>
                      <a:pt x="310490" y="202505"/>
                      <a:pt x="318654" y="210669"/>
                    </a:cubicBezTo>
                    <a:cubicBezTo>
                      <a:pt x="344211" y="236226"/>
                      <a:pt x="319246" y="229536"/>
                      <a:pt x="353291" y="252233"/>
                    </a:cubicBezTo>
                    <a:cubicBezTo>
                      <a:pt x="359366" y="256283"/>
                      <a:pt x="367145" y="256851"/>
                      <a:pt x="374072" y="259160"/>
                    </a:cubicBezTo>
                    <a:cubicBezTo>
                      <a:pt x="383309" y="266087"/>
                      <a:pt x="392387" y="273231"/>
                      <a:pt x="401782" y="279942"/>
                    </a:cubicBezTo>
                    <a:cubicBezTo>
                      <a:pt x="408557" y="284781"/>
                      <a:pt x="417233" y="287400"/>
                      <a:pt x="422563" y="293796"/>
                    </a:cubicBezTo>
                    <a:cubicBezTo>
                      <a:pt x="429174" y="301729"/>
                      <a:pt x="429807" y="313573"/>
                      <a:pt x="436418" y="321506"/>
                    </a:cubicBezTo>
                    <a:cubicBezTo>
                      <a:pt x="441748" y="327902"/>
                      <a:pt x="450804" y="330030"/>
                      <a:pt x="457200" y="335360"/>
                    </a:cubicBezTo>
                    <a:cubicBezTo>
                      <a:pt x="464726" y="341632"/>
                      <a:pt x="471055" y="349215"/>
                      <a:pt x="477982" y="356142"/>
                    </a:cubicBezTo>
                    <a:cubicBezTo>
                      <a:pt x="482600" y="365378"/>
                      <a:pt x="486713" y="374885"/>
                      <a:pt x="491836" y="383851"/>
                    </a:cubicBezTo>
                    <a:cubicBezTo>
                      <a:pt x="511715" y="418639"/>
                      <a:pt x="501601" y="390471"/>
                      <a:pt x="519545" y="432342"/>
                    </a:cubicBezTo>
                    <a:cubicBezTo>
                      <a:pt x="522421" y="439054"/>
                      <a:pt x="522926" y="446741"/>
                      <a:pt x="526472" y="453124"/>
                    </a:cubicBezTo>
                    <a:cubicBezTo>
                      <a:pt x="534559" y="467680"/>
                      <a:pt x="554182" y="494687"/>
                      <a:pt x="554182" y="494687"/>
                    </a:cubicBezTo>
                    <a:cubicBezTo>
                      <a:pt x="575369" y="558251"/>
                      <a:pt x="539953" y="459301"/>
                      <a:pt x="581891" y="543178"/>
                    </a:cubicBezTo>
                    <a:cubicBezTo>
                      <a:pt x="590323" y="560042"/>
                      <a:pt x="597701" y="592565"/>
                      <a:pt x="602672" y="612451"/>
                    </a:cubicBezTo>
                    <a:cubicBezTo>
                      <a:pt x="598054" y="635542"/>
                      <a:pt x="595743" y="659217"/>
                      <a:pt x="588818" y="681724"/>
                    </a:cubicBezTo>
                    <a:cubicBezTo>
                      <a:pt x="583861" y="697834"/>
                      <a:pt x="560404" y="717310"/>
                      <a:pt x="547254" y="723287"/>
                    </a:cubicBezTo>
                    <a:cubicBezTo>
                      <a:pt x="531950" y="730243"/>
                      <a:pt x="515072" y="733065"/>
                      <a:pt x="498763" y="737142"/>
                    </a:cubicBezTo>
                    <a:cubicBezTo>
                      <a:pt x="436144" y="752797"/>
                      <a:pt x="441889" y="750312"/>
                      <a:pt x="381000" y="757924"/>
                    </a:cubicBezTo>
                    <a:cubicBezTo>
                      <a:pt x="274008" y="745085"/>
                      <a:pt x="221927" y="760972"/>
                      <a:pt x="145472" y="702506"/>
                    </a:cubicBezTo>
                    <a:cubicBezTo>
                      <a:pt x="124720" y="686637"/>
                      <a:pt x="108527" y="665560"/>
                      <a:pt x="90054" y="647087"/>
                    </a:cubicBezTo>
                    <a:cubicBezTo>
                      <a:pt x="7693" y="465892"/>
                      <a:pt x="29501" y="554010"/>
                      <a:pt x="13854" y="439269"/>
                    </a:cubicBezTo>
                    <a:cubicBezTo>
                      <a:pt x="9442" y="406913"/>
                      <a:pt x="0" y="342287"/>
                      <a:pt x="0" y="342287"/>
                    </a:cubicBezTo>
                    <a:cubicBezTo>
                      <a:pt x="2309" y="254542"/>
                      <a:pt x="521" y="166593"/>
                      <a:pt x="6927" y="79051"/>
                    </a:cubicBezTo>
                    <a:cubicBezTo>
                      <a:pt x="7535" y="70748"/>
                      <a:pt x="15943" y="65044"/>
                      <a:pt x="20782" y="58269"/>
                    </a:cubicBezTo>
                    <a:cubicBezTo>
                      <a:pt x="44334" y="25296"/>
                      <a:pt x="15009" y="10933"/>
                      <a:pt x="20782" y="28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5CE11B-CA11-2E8E-8776-9627DDEE638F}"/>
                </a:ext>
              </a:extLst>
            </p:cNvPr>
            <p:cNvSpPr/>
            <p:nvPr/>
          </p:nvSpPr>
          <p:spPr>
            <a:xfrm>
              <a:off x="6300072" y="4469008"/>
              <a:ext cx="598508" cy="573989"/>
            </a:xfrm>
            <a:custGeom>
              <a:avLst/>
              <a:gdLst>
                <a:gd name="connsiteX0" fmla="*/ 106139 w 598508"/>
                <a:gd name="connsiteY0" fmla="*/ 557487 h 573989"/>
                <a:gd name="connsiteX1" fmla="*/ 133192 w 598508"/>
                <a:gd name="connsiteY1" fmla="*/ 552076 h 573989"/>
                <a:gd name="connsiteX2" fmla="*/ 144013 w 598508"/>
                <a:gd name="connsiteY2" fmla="*/ 535844 h 573989"/>
                <a:gd name="connsiteX3" fmla="*/ 154835 w 598508"/>
                <a:gd name="connsiteY3" fmla="*/ 525023 h 573989"/>
                <a:gd name="connsiteX4" fmla="*/ 176477 w 598508"/>
                <a:gd name="connsiteY4" fmla="*/ 514201 h 573989"/>
                <a:gd name="connsiteX5" fmla="*/ 192709 w 598508"/>
                <a:gd name="connsiteY5" fmla="*/ 497970 h 573989"/>
                <a:gd name="connsiteX6" fmla="*/ 214352 w 598508"/>
                <a:gd name="connsiteY6" fmla="*/ 481738 h 573989"/>
                <a:gd name="connsiteX7" fmla="*/ 230584 w 598508"/>
                <a:gd name="connsiteY7" fmla="*/ 470916 h 573989"/>
                <a:gd name="connsiteX8" fmla="*/ 246816 w 598508"/>
                <a:gd name="connsiteY8" fmla="*/ 454684 h 573989"/>
                <a:gd name="connsiteX9" fmla="*/ 263048 w 598508"/>
                <a:gd name="connsiteY9" fmla="*/ 443863 h 573989"/>
                <a:gd name="connsiteX10" fmla="*/ 279279 w 598508"/>
                <a:gd name="connsiteY10" fmla="*/ 427631 h 573989"/>
                <a:gd name="connsiteX11" fmla="*/ 295511 w 598508"/>
                <a:gd name="connsiteY11" fmla="*/ 416810 h 573989"/>
                <a:gd name="connsiteX12" fmla="*/ 322565 w 598508"/>
                <a:gd name="connsiteY12" fmla="*/ 389756 h 573989"/>
                <a:gd name="connsiteX13" fmla="*/ 355029 w 598508"/>
                <a:gd name="connsiteY13" fmla="*/ 362703 h 573989"/>
                <a:gd name="connsiteX14" fmla="*/ 376671 w 598508"/>
                <a:gd name="connsiteY14" fmla="*/ 324829 h 573989"/>
                <a:gd name="connsiteX15" fmla="*/ 387492 w 598508"/>
                <a:gd name="connsiteY15" fmla="*/ 314007 h 573989"/>
                <a:gd name="connsiteX16" fmla="*/ 398314 w 598508"/>
                <a:gd name="connsiteY16" fmla="*/ 297775 h 573989"/>
                <a:gd name="connsiteX17" fmla="*/ 419956 w 598508"/>
                <a:gd name="connsiteY17" fmla="*/ 281543 h 573989"/>
                <a:gd name="connsiteX18" fmla="*/ 430778 w 598508"/>
                <a:gd name="connsiteY18" fmla="*/ 265312 h 573989"/>
                <a:gd name="connsiteX19" fmla="*/ 441599 w 598508"/>
                <a:gd name="connsiteY19" fmla="*/ 254490 h 573989"/>
                <a:gd name="connsiteX20" fmla="*/ 452420 w 598508"/>
                <a:gd name="connsiteY20" fmla="*/ 232848 h 573989"/>
                <a:gd name="connsiteX21" fmla="*/ 479474 w 598508"/>
                <a:gd name="connsiteY21" fmla="*/ 205794 h 573989"/>
                <a:gd name="connsiteX22" fmla="*/ 490295 w 598508"/>
                <a:gd name="connsiteY22" fmla="*/ 184152 h 573989"/>
                <a:gd name="connsiteX23" fmla="*/ 501116 w 598508"/>
                <a:gd name="connsiteY23" fmla="*/ 173330 h 573989"/>
                <a:gd name="connsiteX24" fmla="*/ 511937 w 598508"/>
                <a:gd name="connsiteY24" fmla="*/ 157099 h 573989"/>
                <a:gd name="connsiteX25" fmla="*/ 544401 w 598508"/>
                <a:gd name="connsiteY25" fmla="*/ 130045 h 573989"/>
                <a:gd name="connsiteX26" fmla="*/ 555223 w 598508"/>
                <a:gd name="connsiteY26" fmla="*/ 113813 h 573989"/>
                <a:gd name="connsiteX27" fmla="*/ 560633 w 598508"/>
                <a:gd name="connsiteY27" fmla="*/ 97581 h 573989"/>
                <a:gd name="connsiteX28" fmla="*/ 571455 w 598508"/>
                <a:gd name="connsiteY28" fmla="*/ 86760 h 573989"/>
                <a:gd name="connsiteX29" fmla="*/ 582276 w 598508"/>
                <a:gd name="connsiteY29" fmla="*/ 70528 h 573989"/>
                <a:gd name="connsiteX30" fmla="*/ 587687 w 598508"/>
                <a:gd name="connsiteY30" fmla="*/ 54296 h 573989"/>
                <a:gd name="connsiteX31" fmla="*/ 598508 w 598508"/>
                <a:gd name="connsiteY31" fmla="*/ 32654 h 573989"/>
                <a:gd name="connsiteX32" fmla="*/ 587687 w 598508"/>
                <a:gd name="connsiteY32" fmla="*/ 5600 h 573989"/>
                <a:gd name="connsiteX33" fmla="*/ 555223 w 598508"/>
                <a:gd name="connsiteY33" fmla="*/ 190 h 573989"/>
                <a:gd name="connsiteX34" fmla="*/ 355029 w 598508"/>
                <a:gd name="connsiteY34" fmla="*/ 11011 h 573989"/>
                <a:gd name="connsiteX35" fmla="*/ 214352 w 598508"/>
                <a:gd name="connsiteY35" fmla="*/ 38064 h 573989"/>
                <a:gd name="connsiteX36" fmla="*/ 116960 w 598508"/>
                <a:gd name="connsiteY36" fmla="*/ 75939 h 573989"/>
                <a:gd name="connsiteX37" fmla="*/ 35800 w 598508"/>
                <a:gd name="connsiteY37" fmla="*/ 130045 h 573989"/>
                <a:gd name="connsiteX38" fmla="*/ 19568 w 598508"/>
                <a:gd name="connsiteY38" fmla="*/ 189562 h 573989"/>
                <a:gd name="connsiteX39" fmla="*/ 8747 w 598508"/>
                <a:gd name="connsiteY39" fmla="*/ 222026 h 573989"/>
                <a:gd name="connsiteX40" fmla="*/ 19568 w 598508"/>
                <a:gd name="connsiteY40" fmla="*/ 465506 h 573989"/>
                <a:gd name="connsiteX41" fmla="*/ 52032 w 598508"/>
                <a:gd name="connsiteY41" fmla="*/ 492559 h 573989"/>
                <a:gd name="connsiteX42" fmla="*/ 84496 w 598508"/>
                <a:gd name="connsiteY42" fmla="*/ 514201 h 573989"/>
                <a:gd name="connsiteX43" fmla="*/ 106139 w 598508"/>
                <a:gd name="connsiteY43" fmla="*/ 541255 h 573989"/>
                <a:gd name="connsiteX44" fmla="*/ 122371 w 598508"/>
                <a:gd name="connsiteY44" fmla="*/ 573719 h 573989"/>
                <a:gd name="connsiteX45" fmla="*/ 106139 w 598508"/>
                <a:gd name="connsiteY45" fmla="*/ 557487 h 57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8508" h="573989">
                  <a:moveTo>
                    <a:pt x="106139" y="557487"/>
                  </a:moveTo>
                  <a:cubicBezTo>
                    <a:pt x="107942" y="553880"/>
                    <a:pt x="125207" y="556639"/>
                    <a:pt x="133192" y="552076"/>
                  </a:cubicBezTo>
                  <a:cubicBezTo>
                    <a:pt x="138838" y="548850"/>
                    <a:pt x="139951" y="540922"/>
                    <a:pt x="144013" y="535844"/>
                  </a:cubicBezTo>
                  <a:cubicBezTo>
                    <a:pt x="147200" y="531861"/>
                    <a:pt x="150590" y="527853"/>
                    <a:pt x="154835" y="525023"/>
                  </a:cubicBezTo>
                  <a:cubicBezTo>
                    <a:pt x="161546" y="520549"/>
                    <a:pt x="169914" y="518889"/>
                    <a:pt x="176477" y="514201"/>
                  </a:cubicBezTo>
                  <a:cubicBezTo>
                    <a:pt x="182703" y="509754"/>
                    <a:pt x="186899" y="502949"/>
                    <a:pt x="192709" y="497970"/>
                  </a:cubicBezTo>
                  <a:cubicBezTo>
                    <a:pt x="199556" y="492101"/>
                    <a:pt x="207014" y="486980"/>
                    <a:pt x="214352" y="481738"/>
                  </a:cubicBezTo>
                  <a:cubicBezTo>
                    <a:pt x="219644" y="477958"/>
                    <a:pt x="225588" y="475079"/>
                    <a:pt x="230584" y="470916"/>
                  </a:cubicBezTo>
                  <a:cubicBezTo>
                    <a:pt x="236462" y="466017"/>
                    <a:pt x="240938" y="459583"/>
                    <a:pt x="246816" y="454684"/>
                  </a:cubicBezTo>
                  <a:cubicBezTo>
                    <a:pt x="251812" y="450521"/>
                    <a:pt x="258052" y="448026"/>
                    <a:pt x="263048" y="443863"/>
                  </a:cubicBezTo>
                  <a:cubicBezTo>
                    <a:pt x="268926" y="438965"/>
                    <a:pt x="273401" y="432529"/>
                    <a:pt x="279279" y="427631"/>
                  </a:cubicBezTo>
                  <a:cubicBezTo>
                    <a:pt x="284275" y="423468"/>
                    <a:pt x="290617" y="421092"/>
                    <a:pt x="295511" y="416810"/>
                  </a:cubicBezTo>
                  <a:cubicBezTo>
                    <a:pt x="305109" y="408412"/>
                    <a:pt x="311953" y="396830"/>
                    <a:pt x="322565" y="389756"/>
                  </a:cubicBezTo>
                  <a:cubicBezTo>
                    <a:pt x="338525" y="379116"/>
                    <a:pt x="342010" y="378326"/>
                    <a:pt x="355029" y="362703"/>
                  </a:cubicBezTo>
                  <a:cubicBezTo>
                    <a:pt x="373474" y="340569"/>
                    <a:pt x="359035" y="351284"/>
                    <a:pt x="376671" y="324829"/>
                  </a:cubicBezTo>
                  <a:cubicBezTo>
                    <a:pt x="379501" y="320584"/>
                    <a:pt x="384305" y="317990"/>
                    <a:pt x="387492" y="314007"/>
                  </a:cubicBezTo>
                  <a:cubicBezTo>
                    <a:pt x="391554" y="308929"/>
                    <a:pt x="393716" y="302373"/>
                    <a:pt x="398314" y="297775"/>
                  </a:cubicBezTo>
                  <a:cubicBezTo>
                    <a:pt x="404690" y="291399"/>
                    <a:pt x="413579" y="287919"/>
                    <a:pt x="419956" y="281543"/>
                  </a:cubicBezTo>
                  <a:cubicBezTo>
                    <a:pt x="424554" y="276945"/>
                    <a:pt x="426716" y="270390"/>
                    <a:pt x="430778" y="265312"/>
                  </a:cubicBezTo>
                  <a:cubicBezTo>
                    <a:pt x="433965" y="261329"/>
                    <a:pt x="438769" y="258735"/>
                    <a:pt x="441599" y="254490"/>
                  </a:cubicBezTo>
                  <a:cubicBezTo>
                    <a:pt x="446073" y="247779"/>
                    <a:pt x="447468" y="239214"/>
                    <a:pt x="452420" y="232848"/>
                  </a:cubicBezTo>
                  <a:cubicBezTo>
                    <a:pt x="460250" y="222781"/>
                    <a:pt x="473771" y="217201"/>
                    <a:pt x="479474" y="205794"/>
                  </a:cubicBezTo>
                  <a:cubicBezTo>
                    <a:pt x="483081" y="198580"/>
                    <a:pt x="485821" y="190863"/>
                    <a:pt x="490295" y="184152"/>
                  </a:cubicBezTo>
                  <a:cubicBezTo>
                    <a:pt x="493125" y="179907"/>
                    <a:pt x="497929" y="177313"/>
                    <a:pt x="501116" y="173330"/>
                  </a:cubicBezTo>
                  <a:cubicBezTo>
                    <a:pt x="505178" y="168252"/>
                    <a:pt x="507875" y="162177"/>
                    <a:pt x="511937" y="157099"/>
                  </a:cubicBezTo>
                  <a:cubicBezTo>
                    <a:pt x="526490" y="138908"/>
                    <a:pt x="523354" y="151092"/>
                    <a:pt x="544401" y="130045"/>
                  </a:cubicBezTo>
                  <a:cubicBezTo>
                    <a:pt x="548999" y="125447"/>
                    <a:pt x="551616" y="119224"/>
                    <a:pt x="555223" y="113813"/>
                  </a:cubicBezTo>
                  <a:cubicBezTo>
                    <a:pt x="557026" y="108402"/>
                    <a:pt x="557699" y="102472"/>
                    <a:pt x="560633" y="97581"/>
                  </a:cubicBezTo>
                  <a:cubicBezTo>
                    <a:pt x="563258" y="93207"/>
                    <a:pt x="568268" y="90743"/>
                    <a:pt x="571455" y="86760"/>
                  </a:cubicBezTo>
                  <a:cubicBezTo>
                    <a:pt x="575517" y="81682"/>
                    <a:pt x="579368" y="76344"/>
                    <a:pt x="582276" y="70528"/>
                  </a:cubicBezTo>
                  <a:cubicBezTo>
                    <a:pt x="584827" y="65427"/>
                    <a:pt x="585440" y="59538"/>
                    <a:pt x="587687" y="54296"/>
                  </a:cubicBezTo>
                  <a:cubicBezTo>
                    <a:pt x="590864" y="46883"/>
                    <a:pt x="594901" y="39868"/>
                    <a:pt x="598508" y="32654"/>
                  </a:cubicBezTo>
                  <a:cubicBezTo>
                    <a:pt x="594901" y="23636"/>
                    <a:pt x="595457" y="11428"/>
                    <a:pt x="587687" y="5600"/>
                  </a:cubicBezTo>
                  <a:cubicBezTo>
                    <a:pt x="578911" y="-982"/>
                    <a:pt x="566191" y="-65"/>
                    <a:pt x="555223" y="190"/>
                  </a:cubicBezTo>
                  <a:cubicBezTo>
                    <a:pt x="488412" y="1744"/>
                    <a:pt x="421760" y="7404"/>
                    <a:pt x="355029" y="11011"/>
                  </a:cubicBezTo>
                  <a:cubicBezTo>
                    <a:pt x="308137" y="20029"/>
                    <a:pt x="259653" y="22964"/>
                    <a:pt x="214352" y="38064"/>
                  </a:cubicBezTo>
                  <a:cubicBezTo>
                    <a:pt x="175655" y="50963"/>
                    <a:pt x="153416" y="56639"/>
                    <a:pt x="116960" y="75939"/>
                  </a:cubicBezTo>
                  <a:cubicBezTo>
                    <a:pt x="89703" y="90369"/>
                    <a:pt x="60909" y="112111"/>
                    <a:pt x="35800" y="130045"/>
                  </a:cubicBezTo>
                  <a:cubicBezTo>
                    <a:pt x="3100" y="228149"/>
                    <a:pt x="42511" y="105438"/>
                    <a:pt x="19568" y="189562"/>
                  </a:cubicBezTo>
                  <a:cubicBezTo>
                    <a:pt x="16567" y="200567"/>
                    <a:pt x="12354" y="211205"/>
                    <a:pt x="8747" y="222026"/>
                  </a:cubicBezTo>
                  <a:cubicBezTo>
                    <a:pt x="-5447" y="321381"/>
                    <a:pt x="-2733" y="282643"/>
                    <a:pt x="19568" y="465506"/>
                  </a:cubicBezTo>
                  <a:cubicBezTo>
                    <a:pt x="21671" y="482746"/>
                    <a:pt x="40937" y="485902"/>
                    <a:pt x="52032" y="492559"/>
                  </a:cubicBezTo>
                  <a:cubicBezTo>
                    <a:pt x="63184" y="499250"/>
                    <a:pt x="84496" y="514201"/>
                    <a:pt x="84496" y="514201"/>
                  </a:cubicBezTo>
                  <a:cubicBezTo>
                    <a:pt x="98097" y="555003"/>
                    <a:pt x="78168" y="506289"/>
                    <a:pt x="106139" y="541255"/>
                  </a:cubicBezTo>
                  <a:cubicBezTo>
                    <a:pt x="106746" y="542014"/>
                    <a:pt x="116206" y="577418"/>
                    <a:pt x="122371" y="573719"/>
                  </a:cubicBezTo>
                  <a:cubicBezTo>
                    <a:pt x="132746" y="567494"/>
                    <a:pt x="104336" y="561094"/>
                    <a:pt x="106139" y="5574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EBEEF51-7CD7-2665-5150-CF0AD4B8C4E0}"/>
              </a:ext>
            </a:extLst>
          </p:cNvPr>
          <p:cNvSpPr txBox="1"/>
          <p:nvPr/>
        </p:nvSpPr>
        <p:spPr>
          <a:xfrm>
            <a:off x="6610649" y="1149475"/>
            <a:ext cx="4310211" cy="723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implified guiding system</a:t>
            </a:r>
            <a:r>
              <a:rPr lang="en-US" b="1" dirty="0"/>
              <a:t>:</a:t>
            </a:r>
            <a:r>
              <a:rPr lang="en-US" dirty="0"/>
              <a:t> Replaced three rails with a single elongated rail featuring grooves for mechanical locking and easier insertion.</a:t>
            </a:r>
            <a:endParaRPr lang="en-IN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89BD22-A33F-E428-C9F7-D0C25666B874}"/>
              </a:ext>
            </a:extLst>
          </p:cNvPr>
          <p:cNvSpPr txBox="1"/>
          <p:nvPr/>
        </p:nvSpPr>
        <p:spPr>
          <a:xfrm>
            <a:off x="6916674" y="2373559"/>
            <a:ext cx="3967857" cy="545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Improved stability: Extended and thickened tail (by 50 mm) to shift the center of gravity rearward and prevent forward tilting.</a:t>
            </a:r>
            <a:endParaRPr lang="en-IN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E23F64-AB61-BCFB-A4FF-A4779B3BECAA}"/>
              </a:ext>
            </a:extLst>
          </p:cNvPr>
          <p:cNvSpPr txBox="1"/>
          <p:nvPr/>
        </p:nvSpPr>
        <p:spPr>
          <a:xfrm>
            <a:off x="6987100" y="3557630"/>
            <a:ext cx="3897431" cy="66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Refined outlet geometry</a:t>
            </a:r>
            <a:r>
              <a:rPr lang="en-US" b="1" dirty="0"/>
              <a:t>:</a:t>
            </a:r>
            <a:r>
              <a:rPr lang="en-US" dirty="0"/>
              <a:t> Slightly undersized outlet (2–3%) ensures smooth liner entry without edge damage.</a:t>
            </a:r>
            <a:endParaRPr lang="en-IN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72B71-58E5-3CAF-7770-38B64BBA3F27}"/>
              </a:ext>
            </a:extLst>
          </p:cNvPr>
          <p:cNvSpPr txBox="1"/>
          <p:nvPr/>
        </p:nvSpPr>
        <p:spPr>
          <a:xfrm>
            <a:off x="6477736" y="4906925"/>
            <a:ext cx="4104456" cy="6662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Enhanced adaptability: Simplified overall geometry for easier parametric adjustments and faster design modifications.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diagram of a flowchart&#10;&#10;AI-generated content may be incorrect.">
            <a:extLst>
              <a:ext uri="{FF2B5EF4-FFF2-40B4-BE49-F238E27FC236}">
                <a16:creationId xmlns:a16="http://schemas.microsoft.com/office/drawing/2014/main" id="{81793692-F993-5E7B-C0C9-D9527F4A04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585288"/>
            <a:ext cx="6383114" cy="6082791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2100FD-7E51-E42F-76D0-9CDCD1D2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F87AF-F4B9-0F61-6E6F-11F9E4DA0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35738-7BC8-9C78-B3F4-70242F40C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rtion Pipeline: Complete Automation of Stator Slot Insula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A9EC5-A504-6526-2307-3781255BC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222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nel Validation: Evaluation Using Stators of Differing Geometri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1512100" y="1173695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9A79982-79EE-DB27-C73A-E3B5B77FC012}"/>
              </a:ext>
            </a:extLst>
          </p:cNvPr>
          <p:cNvGrpSpPr/>
          <p:nvPr/>
        </p:nvGrpSpPr>
        <p:grpSpPr>
          <a:xfrm>
            <a:off x="7176120" y="1108331"/>
            <a:ext cx="3783141" cy="1362346"/>
            <a:chOff x="7176120" y="1108331"/>
            <a:chExt cx="3783141" cy="1362346"/>
          </a:xfrm>
        </p:grpSpPr>
        <p:pic>
          <p:nvPicPr>
            <p:cNvPr id="40" name="Picture 39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CB424159-FD4B-43A1-D1D6-D6BA974D2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1108331"/>
              <a:ext cx="1645436" cy="1267734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1612653-87FC-DE42-89F0-2CDDD5918872}"/>
                </a:ext>
              </a:extLst>
            </p:cNvPr>
            <p:cNvGrpSpPr/>
            <p:nvPr/>
          </p:nvGrpSpPr>
          <p:grpSpPr>
            <a:xfrm>
              <a:off x="8254712" y="1269232"/>
              <a:ext cx="2704549" cy="1201445"/>
              <a:chOff x="8676452" y="1108331"/>
              <a:chExt cx="2573583" cy="120144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92EB529-E101-FDBB-8C95-814466D1A2D2}"/>
                  </a:ext>
                </a:extLst>
              </p:cNvPr>
              <p:cNvSpPr/>
              <p:nvPr/>
            </p:nvSpPr>
            <p:spPr>
              <a:xfrm>
                <a:off x="9180509" y="1108331"/>
                <a:ext cx="206417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E7A6A9-F50E-B0D3-AA91-382BCA22493A}"/>
                  </a:ext>
                </a:extLst>
              </p:cNvPr>
              <p:cNvSpPr txBox="1"/>
              <p:nvPr/>
            </p:nvSpPr>
            <p:spPr>
              <a:xfrm>
                <a:off x="9307903" y="1182797"/>
                <a:ext cx="1942132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9.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CC054AD4-D8D0-8BE4-D388-B64151CDC1AA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F656E6F-B545-930F-DCB5-A8E4167190CF}"/>
              </a:ext>
            </a:extLst>
          </p:cNvPr>
          <p:cNvGrpSpPr/>
          <p:nvPr/>
        </p:nvGrpSpPr>
        <p:grpSpPr>
          <a:xfrm>
            <a:off x="7259774" y="2885734"/>
            <a:ext cx="3744415" cy="1512072"/>
            <a:chOff x="7176120" y="2869902"/>
            <a:chExt cx="3744415" cy="1512072"/>
          </a:xfrm>
        </p:grpSpPr>
        <p:pic>
          <p:nvPicPr>
            <p:cNvPr id="46" name="Picture 45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8BC7D49F-BA47-1CB3-5630-D295FD584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2869902"/>
              <a:ext cx="1645436" cy="1397806"/>
            </a:xfrm>
            <a:prstGeom prst="rect">
              <a:avLst/>
            </a:prstGeom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A3E4C11-D60A-DBE7-B45A-3D36EC708E33}"/>
                </a:ext>
              </a:extLst>
            </p:cNvPr>
            <p:cNvGrpSpPr/>
            <p:nvPr/>
          </p:nvGrpSpPr>
          <p:grpSpPr>
            <a:xfrm>
              <a:off x="8285656" y="3180529"/>
              <a:ext cx="2634879" cy="1201445"/>
              <a:chOff x="8676452" y="1108331"/>
              <a:chExt cx="2634879" cy="120144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016DA5F4-0A21-D881-39C9-41E70CE87705}"/>
                  </a:ext>
                </a:extLst>
              </p:cNvPr>
              <p:cNvSpPr/>
              <p:nvPr/>
            </p:nvSpPr>
            <p:spPr>
              <a:xfrm>
                <a:off x="9180511" y="1108331"/>
                <a:ext cx="213082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F61B65F-F255-F9C5-6B34-8CECE2F3CD1F}"/>
                  </a:ext>
                </a:extLst>
              </p:cNvPr>
              <p:cNvSpPr txBox="1"/>
              <p:nvPr/>
            </p:nvSpPr>
            <p:spPr>
              <a:xfrm>
                <a:off x="9273973" y="1179368"/>
                <a:ext cx="1986804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1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E429E1A8-7BD4-C046-6FEE-755427E9B37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B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BEDCA0B-6AF8-DAC9-A63C-6ADFF1C5A8F2}"/>
              </a:ext>
            </a:extLst>
          </p:cNvPr>
          <p:cNvGrpSpPr/>
          <p:nvPr/>
        </p:nvGrpSpPr>
        <p:grpSpPr>
          <a:xfrm>
            <a:off x="7343946" y="4697446"/>
            <a:ext cx="3609689" cy="1339106"/>
            <a:chOff x="7310845" y="4610859"/>
            <a:chExt cx="3609689" cy="1339106"/>
          </a:xfrm>
        </p:grpSpPr>
        <p:pic>
          <p:nvPicPr>
            <p:cNvPr id="64" name="Picture 63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4BA453DD-673E-0BCA-7562-87ED73DD4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3566" r="3173"/>
            <a:stretch>
              <a:fillRect/>
            </a:stretch>
          </p:blipFill>
          <p:spPr>
            <a:xfrm>
              <a:off x="7310845" y="4610859"/>
              <a:ext cx="1474339" cy="1301452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543AC17-4819-C417-83F7-E4A00825017F}"/>
                </a:ext>
              </a:extLst>
            </p:cNvPr>
            <p:cNvGrpSpPr/>
            <p:nvPr/>
          </p:nvGrpSpPr>
          <p:grpSpPr>
            <a:xfrm>
              <a:off x="8300423" y="4748520"/>
              <a:ext cx="2620111" cy="1201445"/>
              <a:chOff x="8676452" y="1108331"/>
              <a:chExt cx="2620111" cy="1201445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CDF265F-3FA1-3CC5-8917-AE2BE640ABD1}"/>
                  </a:ext>
                </a:extLst>
              </p:cNvPr>
              <p:cNvSpPr/>
              <p:nvPr/>
            </p:nvSpPr>
            <p:spPr>
              <a:xfrm>
                <a:off x="9180510" y="1108331"/>
                <a:ext cx="2116053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ED60CFF-F8BD-8725-C25C-B8E0B54BADFD}"/>
                  </a:ext>
                </a:extLst>
              </p:cNvPr>
              <p:cNvSpPr txBox="1"/>
              <p:nvPr/>
            </p:nvSpPr>
            <p:spPr>
              <a:xfrm>
                <a:off x="9298873" y="1207683"/>
                <a:ext cx="1997689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7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0B898CFB-0254-B212-16EA-71AC71C8745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C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: Testing Results for All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001000" cy="2844880"/>
            <a:chOff x="1703512" y="1160184"/>
            <a:chExt cx="9001000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6915419"/>
                </p:ext>
              </p:extLst>
            </p:nvPr>
          </p:nvGraphicFramePr>
          <p:xfrm>
            <a:off x="1703512" y="1193016"/>
            <a:ext cx="4032448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27396964"/>
                </p:ext>
              </p:extLst>
            </p:nvPr>
          </p:nvGraphicFramePr>
          <p:xfrm>
            <a:off x="6672064" y="1160184"/>
            <a:ext cx="4032448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rror Analysis: </a:t>
            </a:r>
            <a:r>
              <a:rPr lang="en-US" dirty="0"/>
              <a:t>Comparative Observations for the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109399"/>
              </p:ext>
            </p:extLst>
          </p:nvPr>
        </p:nvGraphicFramePr>
        <p:xfrm>
          <a:off x="1847528" y="1168276"/>
          <a:ext cx="3384376" cy="226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243040"/>
              </p:ext>
            </p:extLst>
          </p:nvPr>
        </p:nvGraphicFramePr>
        <p:xfrm>
          <a:off x="6528048" y="1142876"/>
          <a:ext cx="3528392" cy="2286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83432" y="369734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7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3B02A-638F-6821-6E38-2C5BAC2A9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D7F7A-CF11-E7FD-C58C-0804E26B5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59F033-ECE1-B8D1-D288-52724E734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IN" dirty="0"/>
              <a:t>Discussion of Results: </a:t>
            </a:r>
            <a:r>
              <a:rPr lang="en-US" dirty="0"/>
              <a:t>Insights and Areas for Further Improve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C204B-0C9C-35B5-54C1-9B66064EF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D70971-49C4-0C71-EBB8-555F8E8DFAF5}"/>
              </a:ext>
            </a:extLst>
          </p:cNvPr>
          <p:cNvSpPr txBox="1"/>
          <p:nvPr/>
        </p:nvSpPr>
        <p:spPr>
          <a:xfrm>
            <a:off x="695400" y="1028207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Success rates &amp; cycle time:</a:t>
            </a:r>
            <a:r>
              <a:rPr lang="en-US" sz="1600" kern="1200" dirty="0"/>
              <a:t> Optimized trials achieved 96.7% for Stators A &amp; B and 100% for Stator C; average cycle time ~39.8 s, with room for improvement via motion optimization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rocess sensitivity:</a:t>
            </a:r>
            <a:r>
              <a:rPr lang="en-US" sz="1600" kern="1200" dirty="0"/>
              <a:t> Performance depends heavily on slot liner geometry and consistency; small deviations can cause erro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Current limitations:</a:t>
            </a:r>
            <a:r>
              <a:rPr lang="en-US" sz="1600" kern="1200" dirty="0"/>
              <a:t> The process does not yet incorporate automated folding, creasing, or shaping of line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otential improvements:</a:t>
            </a:r>
            <a:r>
              <a:rPr lang="en-US" sz="1600" kern="1200" dirty="0"/>
              <a:t> Automating liner pre-processing and integrating pre-positioned dispensers can reduce variability, minimize robot travel, and improve cycle time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Industrial relevance:</a:t>
            </a:r>
            <a:r>
              <a:rPr lang="en-US" sz="1600" kern="1200" dirty="0"/>
              <a:t> Adding vision-based quality assurance and adaptive feedback could enable a fully autonomous, scalable, flexible, and robust solution for stator assembly</a:t>
            </a:r>
          </a:p>
        </p:txBody>
      </p:sp>
      <p:pic>
        <p:nvPicPr>
          <p:cNvPr id="12" name="Picture 11" descr="A close-up of a machine&#10;&#10;AI-generated content may be incorrect.">
            <a:extLst>
              <a:ext uri="{FF2B5EF4-FFF2-40B4-BE49-F238E27FC236}">
                <a16:creationId xmlns:a16="http://schemas.microsoft.com/office/drawing/2014/main" id="{1A39D369-89D9-3FB2-78B3-247C87C9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41" r="-3" b="-3"/>
          <a:stretch>
            <a:fillRect/>
          </a:stretch>
        </p:blipFill>
        <p:spPr>
          <a:xfrm>
            <a:off x="8312784" y="1028207"/>
            <a:ext cx="3039427" cy="4352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9366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.</a:t>
            </a:r>
            <a:br>
              <a:rPr lang="en-US" dirty="0"/>
            </a:br>
            <a:r>
              <a:rPr lang="en-US" dirty="0"/>
              <a:t>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</a:t>
            </a:r>
            <a:r>
              <a:rPr lang="en-US" dirty="0" err="1"/>
              <a:t>Tiismus</a:t>
            </a:r>
            <a:r>
              <a:rPr lang="en-US" dirty="0"/>
              <a:t>, Hans &amp; Kallaste, Ants &amp; Naseer, Muhammad &amp; </a:t>
            </a:r>
            <a:r>
              <a:rPr lang="en-US" dirty="0" err="1"/>
              <a:t>Vaimann</a:t>
            </a:r>
            <a:r>
              <a:rPr lang="en-US" dirty="0"/>
              <a:t>, Toomas &amp; </a:t>
            </a:r>
            <a:r>
              <a:rPr lang="en-US" dirty="0" err="1"/>
              <a:t>Rassõlkin</a:t>
            </a:r>
            <a:r>
              <a:rPr lang="en-US" dirty="0"/>
              <a:t>, Anton. (2022). </a:t>
            </a:r>
            <a:br>
              <a:rPr lang="en-US" dirty="0"/>
            </a:br>
            <a:r>
              <a:rPr lang="en-US" dirty="0"/>
              <a:t>Design and Performance of Laser Additively Manufactured Core Induction Motor. IEEE Access. </a:t>
            </a:r>
            <a:br>
              <a:rPr lang="en-US" dirty="0"/>
            </a:br>
            <a:r>
              <a:rPr lang="en-US" dirty="0"/>
              <a:t>10. 1-16. 10.1109/ACCESS.2022.3173317. </a:t>
            </a:r>
          </a:p>
          <a:p>
            <a:pPr>
              <a:buClr>
                <a:srgbClr val="97C139"/>
              </a:buClr>
            </a:pPr>
            <a:r>
              <a:rPr lang="de-DE" dirty="0"/>
              <a:t>[3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  <a:br>
              <a:rPr lang="en-IN" dirty="0"/>
            </a:b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  <a:br>
              <a:rPr lang="en-US" dirty="0"/>
            </a:b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IN" dirty="0"/>
          </a:p>
          <a:p>
            <a:pPr>
              <a:buClr>
                <a:srgbClr val="97C139"/>
              </a:buClr>
            </a:pPr>
            <a:r>
              <a:rPr lang="en-IN" dirty="0"/>
              <a:t>[4]</a:t>
            </a:r>
            <a:r>
              <a:rPr lang="de-DE" dirty="0"/>
              <a:t> GMW Taiwan, </a:t>
            </a:r>
            <a:r>
              <a:rPr lang="de-DE" i="1" dirty="0"/>
              <a:t>GMW CS-2B Stator Slot Cell Inserter.</a:t>
            </a:r>
            <a:br>
              <a:rPr lang="de-DE" i="1" dirty="0"/>
            </a:br>
            <a:r>
              <a:rPr lang="de-DE" i="1" dirty="0"/>
              <a:t> </a:t>
            </a:r>
            <a:r>
              <a:rPr lang="de-DE" dirty="0"/>
              <a:t>[Online]. Available: https://​www.gmwtaiwan.com​/​Slot-​Cell-​Insertion-​Machine/​GMW-​CS-​2B-​Stator-​Slot-​Cell-​Inserter</a:t>
            </a: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331E1-350B-D7A6-37F1-98E81889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B23B-39A7-0222-C925-215E249FD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D534-ABB3-440D-8A3E-CEDBBED1D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F3FA52-04E9-E7CB-3F3E-0DC28FBC29B1}"/>
              </a:ext>
            </a:extLst>
          </p:cNvPr>
          <p:cNvSpPr txBox="1"/>
          <p:nvPr/>
        </p:nvSpPr>
        <p:spPr>
          <a:xfrm>
            <a:off x="4439816" y="2924944"/>
            <a:ext cx="331236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4400" b="1" dirty="0"/>
              <a:t>Questions?</a:t>
            </a:r>
            <a:endParaRPr lang="en-IN" sz="4400" b="1" dirty="0" err="1"/>
          </a:p>
        </p:txBody>
      </p:sp>
    </p:spTree>
    <p:extLst>
      <p:ext uri="{BB962C8B-B14F-4D97-AF65-F5344CB8AC3E}">
        <p14:creationId xmlns:p14="http://schemas.microsoft.com/office/powerpoint/2010/main" val="3242381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and Key Components of Developing a Parametric Tool for Slot Liner Insertion: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40D31C-18F7-EEB9-FE43-2E7D092AD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690AC3-7F39-D76D-F024-67F1BAA7F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0CF9B1-17C7-8F1F-7569-452F15E1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E2F4BB-1DAE-FE1F-1F9E-37B128FF6555}"/>
              </a:ext>
            </a:extLst>
          </p:cNvPr>
          <p:cNvSpPr txBox="1"/>
          <p:nvPr/>
        </p:nvSpPr>
        <p:spPr>
          <a:xfrm>
            <a:off x="1199456" y="1124744"/>
            <a:ext cx="5184576" cy="5112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otivation 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Objectives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Key steps involved in motor manufactur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lot-Liner Function and Importanc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sertion of Slot Liners in Large Scale Manufactur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sertion of Slot Liners in Small Scale manufactur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roposed Automation Pla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Hardware Setup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Tool Development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itial Design vs Final Desig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esting and Validatio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Conclusion and Outlook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57422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654" y="326976"/>
            <a:ext cx="10893969" cy="503238"/>
          </a:xfrm>
        </p:spPr>
        <p:txBody>
          <a:bodyPr/>
          <a:lstStyle/>
          <a:p>
            <a:r>
              <a:rPr lang="en-US" dirty="0"/>
              <a:t>Climate change and CO₂ emissions drive the need for sustainable mobility, leading to a rapid </a:t>
            </a:r>
            <a:br>
              <a:rPr lang="en-US" dirty="0"/>
            </a:br>
            <a:r>
              <a:rPr lang="en-US" dirty="0"/>
              <a:t>rise in electric vehicle demand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Climate change &amp; CO₂ emissions </a:t>
            </a:r>
            <a:r>
              <a:rPr lang="en-IN" sz="1600" dirty="0">
                <a:sym typeface="Wingdings" panose="05000000000000000000" pitchFamily="2" charset="2"/>
              </a:rPr>
              <a:t></a:t>
            </a:r>
            <a:r>
              <a:rPr lang="en-IN" sz="1600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ification trend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rapid growth of EVs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175337" y="3212976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9AD4E1-52B3-9D8D-94D4-7DB7BA774245}"/>
              </a:ext>
            </a:extLst>
          </p:cNvPr>
          <p:cNvGrpSpPr/>
          <p:nvPr/>
        </p:nvGrpSpPr>
        <p:grpSpPr>
          <a:xfrm>
            <a:off x="2783632" y="857959"/>
            <a:ext cx="5927125" cy="5554567"/>
            <a:chOff x="3006454" y="766980"/>
            <a:chExt cx="5927125" cy="555456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95335A-61AE-A6E6-8C94-30474817F79E}"/>
                </a:ext>
              </a:extLst>
            </p:cNvPr>
            <p:cNvSpPr/>
            <p:nvPr/>
          </p:nvSpPr>
          <p:spPr>
            <a:xfrm>
              <a:off x="4506332" y="2059208"/>
              <a:ext cx="2970111" cy="2970111"/>
            </a:xfrm>
            <a:custGeom>
              <a:avLst/>
              <a:gdLst>
                <a:gd name="connsiteX0" fmla="*/ 0 w 2970111"/>
                <a:gd name="connsiteY0" fmla="*/ 1485056 h 2970111"/>
                <a:gd name="connsiteX1" fmla="*/ 1485056 w 2970111"/>
                <a:gd name="connsiteY1" fmla="*/ 0 h 2970111"/>
                <a:gd name="connsiteX2" fmla="*/ 2970112 w 2970111"/>
                <a:gd name="connsiteY2" fmla="*/ 1485056 h 2970111"/>
                <a:gd name="connsiteX3" fmla="*/ 1485056 w 2970111"/>
                <a:gd name="connsiteY3" fmla="*/ 2970112 h 2970111"/>
                <a:gd name="connsiteX4" fmla="*/ 0 w 2970111"/>
                <a:gd name="connsiteY4" fmla="*/ 1485056 h 297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11" h="2970111">
                  <a:moveTo>
                    <a:pt x="0" y="1485056"/>
                  </a:moveTo>
                  <a:cubicBezTo>
                    <a:pt x="0" y="664882"/>
                    <a:pt x="664882" y="0"/>
                    <a:pt x="1485056" y="0"/>
                  </a:cubicBezTo>
                  <a:cubicBezTo>
                    <a:pt x="2305230" y="0"/>
                    <a:pt x="2970112" y="664882"/>
                    <a:pt x="2970112" y="1485056"/>
                  </a:cubicBezTo>
                  <a:cubicBezTo>
                    <a:pt x="2970112" y="2305230"/>
                    <a:pt x="2305230" y="2970112"/>
                    <a:pt x="1485056" y="2970112"/>
                  </a:cubicBezTo>
                  <a:cubicBezTo>
                    <a:pt x="664882" y="2970112"/>
                    <a:pt x="0" y="2305230"/>
                    <a:pt x="0" y="1485056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470523" tIns="470523" rIns="470523" bIns="470523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b="1" kern="1200" dirty="0"/>
                <a:t>Automated Slot-Liner Insertion</a:t>
              </a:r>
              <a:endParaRPr lang="en-IN" sz="2800" b="1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6E7C7B-5686-4D93-91E5-FFC43F63EC65}"/>
                </a:ext>
              </a:extLst>
            </p:cNvPr>
            <p:cNvSpPr/>
            <p:nvPr/>
          </p:nvSpPr>
          <p:spPr>
            <a:xfrm>
              <a:off x="7225825" y="2698219"/>
              <a:ext cx="1707754" cy="1681349"/>
            </a:xfrm>
            <a:custGeom>
              <a:avLst/>
              <a:gdLst>
                <a:gd name="connsiteX0" fmla="*/ 0 w 1707754"/>
                <a:gd name="connsiteY0" fmla="*/ 742528 h 1485055"/>
                <a:gd name="connsiteX1" fmla="*/ 853877 w 1707754"/>
                <a:gd name="connsiteY1" fmla="*/ 0 h 1485055"/>
                <a:gd name="connsiteX2" fmla="*/ 1707754 w 1707754"/>
                <a:gd name="connsiteY2" fmla="*/ 742528 h 1485055"/>
                <a:gd name="connsiteX3" fmla="*/ 853877 w 1707754"/>
                <a:gd name="connsiteY3" fmla="*/ 1485056 h 1485055"/>
                <a:gd name="connsiteX4" fmla="*/ 0 w 1707754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754" h="1485055">
                  <a:moveTo>
                    <a:pt x="0" y="742528"/>
                  </a:moveTo>
                  <a:cubicBezTo>
                    <a:pt x="0" y="332441"/>
                    <a:pt x="382294" y="0"/>
                    <a:pt x="853877" y="0"/>
                  </a:cubicBezTo>
                  <a:cubicBezTo>
                    <a:pt x="1325460" y="0"/>
                    <a:pt x="1707754" y="332441"/>
                    <a:pt x="1707754" y="742528"/>
                  </a:cubicBezTo>
                  <a:cubicBezTo>
                    <a:pt x="1707754" y="1152615"/>
                    <a:pt x="1325460" y="1485056"/>
                    <a:pt x="853877" y="1485056"/>
                  </a:cubicBezTo>
                  <a:cubicBezTo>
                    <a:pt x="382294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70415" tIns="237801" rIns="270415" bIns="237801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arametric Tool Design</a:t>
              </a:r>
              <a:endParaRPr lang="en-IN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521223-9E5B-77C3-BC63-3F5B1E89C03A}"/>
                </a:ext>
              </a:extLst>
            </p:cNvPr>
            <p:cNvSpPr/>
            <p:nvPr/>
          </p:nvSpPr>
          <p:spPr>
            <a:xfrm>
              <a:off x="5052029" y="766980"/>
              <a:ext cx="1793235" cy="1681350"/>
            </a:xfrm>
            <a:custGeom>
              <a:avLst/>
              <a:gdLst>
                <a:gd name="connsiteX0" fmla="*/ 0 w 1485055"/>
                <a:gd name="connsiteY0" fmla="*/ 840675 h 1681350"/>
                <a:gd name="connsiteX1" fmla="*/ 742528 w 1485055"/>
                <a:gd name="connsiteY1" fmla="*/ 0 h 1681350"/>
                <a:gd name="connsiteX2" fmla="*/ 1485056 w 1485055"/>
                <a:gd name="connsiteY2" fmla="*/ 840675 h 1681350"/>
                <a:gd name="connsiteX3" fmla="*/ 742528 w 1485055"/>
                <a:gd name="connsiteY3" fmla="*/ 1681350 h 1681350"/>
                <a:gd name="connsiteX4" fmla="*/ 0 w 1485055"/>
                <a:gd name="connsiteY4" fmla="*/ 840675 h 168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681350">
                  <a:moveTo>
                    <a:pt x="0" y="840675"/>
                  </a:moveTo>
                  <a:cubicBezTo>
                    <a:pt x="0" y="376383"/>
                    <a:pt x="332441" y="0"/>
                    <a:pt x="742528" y="0"/>
                  </a:cubicBezTo>
                  <a:cubicBezTo>
                    <a:pt x="1152615" y="0"/>
                    <a:pt x="1485056" y="376383"/>
                    <a:pt x="1485056" y="840675"/>
                  </a:cubicBezTo>
                  <a:cubicBezTo>
                    <a:pt x="1485056" y="1304967"/>
                    <a:pt x="1152615" y="1681350"/>
                    <a:pt x="742528" y="1681350"/>
                  </a:cubicBezTo>
                  <a:cubicBezTo>
                    <a:pt x="332441" y="1681350"/>
                    <a:pt x="0" y="1304967"/>
                    <a:pt x="0" y="840675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7801" tIns="266548" rIns="237801" bIns="266548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lexible manufacturing</a:t>
              </a:r>
              <a:endParaRPr lang="en-IN" sz="16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FE7302-707F-FA57-DE22-26D5CE5D77D8}"/>
                </a:ext>
              </a:extLst>
            </p:cNvPr>
            <p:cNvSpPr/>
            <p:nvPr/>
          </p:nvSpPr>
          <p:spPr>
            <a:xfrm>
              <a:off x="5137510" y="4640198"/>
              <a:ext cx="1707754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obotic Integration and validation</a:t>
              </a:r>
              <a:endParaRPr lang="en-IN" sz="14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801F4E-A9A9-AA1F-E65B-5F0DEBE71A36}"/>
                </a:ext>
              </a:extLst>
            </p:cNvPr>
            <p:cNvSpPr/>
            <p:nvPr/>
          </p:nvSpPr>
          <p:spPr>
            <a:xfrm>
              <a:off x="3006454" y="2801736"/>
              <a:ext cx="1793235" cy="1485055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rocess reliability and repeatability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ing a stator requires a sequence of precise manufacturing steps, ensuring structural integrity, insulation, and electrical reliabilit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839788" y="1124744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dirty="0"/>
              <a:t>Key steps in stator manufacture involve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E114E3-B001-594D-1F32-E06AB27C810C}"/>
              </a:ext>
            </a:extLst>
          </p:cNvPr>
          <p:cNvGrpSpPr/>
          <p:nvPr/>
        </p:nvGrpSpPr>
        <p:grpSpPr>
          <a:xfrm>
            <a:off x="5015880" y="4005064"/>
            <a:ext cx="2613381" cy="2380950"/>
            <a:chOff x="4799856" y="4005064"/>
            <a:chExt cx="2613381" cy="2380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63F938-FFD1-842D-3A8E-E650246C7A80}"/>
                </a:ext>
              </a:extLst>
            </p:cNvPr>
            <p:cNvSpPr txBox="1"/>
            <p:nvPr/>
          </p:nvSpPr>
          <p:spPr>
            <a:xfrm>
              <a:off x="4943872" y="6051247"/>
              <a:ext cx="2469365" cy="3347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Fully assembled motor [2]</a:t>
              </a:r>
              <a:endParaRPr lang="en-IN" dirty="0" err="1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ED3ADB-3504-4386-7DB2-29618EBE71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99856" y="4005064"/>
              <a:ext cx="2191056" cy="1914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lot liners are Important in Stator Manufacture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7" y="6564724"/>
            <a:ext cx="8903021" cy="124906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6297EC1-79D1-28B5-3242-6CA659F3160C}"/>
              </a:ext>
            </a:extLst>
          </p:cNvPr>
          <p:cNvGrpSpPr/>
          <p:nvPr/>
        </p:nvGrpSpPr>
        <p:grpSpPr>
          <a:xfrm>
            <a:off x="1415480" y="1412776"/>
            <a:ext cx="9727508" cy="4306512"/>
            <a:chOff x="1415480" y="1397000"/>
            <a:chExt cx="9727508" cy="4306512"/>
          </a:xfrm>
        </p:grpSpPr>
        <p:sp>
          <p:nvSpPr>
            <p:cNvPr id="21" name="Straight Connector 20">
              <a:extLst>
                <a:ext uri="{FF2B5EF4-FFF2-40B4-BE49-F238E27FC236}">
                  <a16:creationId xmlns:a16="http://schemas.microsoft.com/office/drawing/2014/main" id="{33D8970F-37A8-73FA-D183-2C1BE3EC49E8}"/>
                </a:ext>
              </a:extLst>
            </p:cNvPr>
            <p:cNvSpPr/>
            <p:nvPr/>
          </p:nvSpPr>
          <p:spPr>
            <a:xfrm>
              <a:off x="3595131" y="5350954"/>
              <a:ext cx="4378693" cy="0"/>
            </a:xfrm>
            <a:prstGeom prst="line">
              <a:avLst/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 dirty="0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1178119-DBDC-11C6-B983-0FBF548E027C}"/>
                </a:ext>
              </a:extLst>
            </p:cNvPr>
            <p:cNvGrpSpPr/>
            <p:nvPr/>
          </p:nvGrpSpPr>
          <p:grpSpPr>
            <a:xfrm>
              <a:off x="1415480" y="1397000"/>
              <a:ext cx="9727508" cy="4306512"/>
              <a:chOff x="1415480" y="1397000"/>
              <a:chExt cx="9727508" cy="4306512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7AA7C47-FBC6-1F33-E681-C400480A3080}"/>
                  </a:ext>
                </a:extLst>
              </p:cNvPr>
              <p:cNvSpPr/>
              <p:nvPr/>
            </p:nvSpPr>
            <p:spPr>
              <a:xfrm>
                <a:off x="7918588" y="4998396"/>
                <a:ext cx="3224400" cy="705116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800" b="1" dirty="0">
                    <a:solidFill>
                      <a:schemeClr val="tx1"/>
                    </a:solidFill>
                  </a:rPr>
                  <a:t>Winding Retention</a:t>
                </a:r>
                <a:endParaRPr lang="en-IN" sz="1800" b="1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8C7AABCB-F461-7CA4-4D1A-9C0D56534DA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F0C19781-51BA-31C1-F478-D84A70285D8A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61040" cy="4064000"/>
                  <a:chOff x="1415480" y="1397000"/>
                  <a:chExt cx="9361040" cy="4064000"/>
                </a:xfrm>
              </p:grpSpPr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888FAE2A-C7EA-F22C-12B0-232807B8995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9361040" cy="4064000"/>
                    <a:chOff x="1415480" y="1397000"/>
                    <a:chExt cx="9361040" cy="4064000"/>
                  </a:xfrm>
                </p:grpSpPr>
                <p:grpSp>
                  <p:nvGrpSpPr>
                    <p:cNvPr id="7" name="Group 6">
                      <a:extLst>
                        <a:ext uri="{FF2B5EF4-FFF2-40B4-BE49-F238E27FC236}">
                          <a16:creationId xmlns:a16="http://schemas.microsoft.com/office/drawing/2014/main" id="{B1F23C09-3454-BA9D-4282-C199E81E0B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480" y="1397000"/>
                      <a:ext cx="6862470" cy="4064000"/>
                      <a:chOff x="2664764" y="1396999"/>
                      <a:chExt cx="6862470" cy="4064000"/>
                    </a:xfrm>
                  </p:grpSpPr>
                  <p:sp>
                    <p:nvSpPr>
                      <p:cNvPr id="8" name="Straight Connector 7">
                        <a:extLst>
                          <a:ext uri="{FF2B5EF4-FFF2-40B4-BE49-F238E27FC236}">
                            <a16:creationId xmlns:a16="http://schemas.microsoft.com/office/drawing/2014/main" id="{0558EEE2-C5E4-BF6A-61E8-43F45359E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1917" y="4189037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9" name="Straight Connector 8">
                        <a:extLst>
                          <a:ext uri="{FF2B5EF4-FFF2-40B4-BE49-F238E27FC236}">
                            <a16:creationId xmlns:a16="http://schemas.microsoft.com/office/drawing/2014/main" id="{2AE8C058-056B-5A01-10F9-342CC4743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93062" y="3056834"/>
                        <a:ext cx="3495039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0" name="Straight Connector 9">
                        <a:extLst>
                          <a:ext uri="{FF2B5EF4-FFF2-40B4-BE49-F238E27FC236}">
                            <a16:creationId xmlns:a16="http://schemas.microsoft.com/office/drawing/2014/main" id="{450DA0F6-74B4-C50D-B2F6-8F95DDE7F2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96764" y="2006599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1" name="Flowchart: Process 10">
                        <a:extLst>
                          <a:ext uri="{FF2B5EF4-FFF2-40B4-BE49-F238E27FC236}">
                            <a16:creationId xmlns:a16="http://schemas.microsoft.com/office/drawing/2014/main" id="{0A38E785-621E-89C8-F53E-E1336C31D9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4764" y="1396999"/>
                        <a:ext cx="4064000" cy="4064000"/>
                      </a:xfrm>
                      <a:prstGeom prst="flowChartProcess">
                        <a:avLst/>
                      </a:prstGeom>
                      <a:blipFill>
                        <a:blip r:embed="rId3"/>
                        <a:srcRect/>
                        <a:stretch>
                          <a:fillRect l="-18000" r="-18000"/>
                        </a:stretch>
                      </a:blipFill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tint val="5000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2" name="Freeform: Shape 11">
                        <a:extLst>
                          <a:ext uri="{FF2B5EF4-FFF2-40B4-BE49-F238E27FC236}">
                            <a16:creationId xmlns:a16="http://schemas.microsoft.com/office/drawing/2014/main" id="{37357C22-B61C-1E0A-5D70-B0802F031D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96284" y="3554983"/>
                        <a:ext cx="2600960" cy="1341120"/>
                      </a:xfrm>
                      <a:custGeom>
                        <a:avLst/>
                        <a:gdLst>
                          <a:gd name="connsiteX0" fmla="*/ 0 w 2600960"/>
                          <a:gd name="connsiteY0" fmla="*/ 0 h 1341120"/>
                          <a:gd name="connsiteX1" fmla="*/ 2600960 w 2600960"/>
                          <a:gd name="connsiteY1" fmla="*/ 0 h 1341120"/>
                          <a:gd name="connsiteX2" fmla="*/ 2600960 w 2600960"/>
                          <a:gd name="connsiteY2" fmla="*/ 1341120 h 1341120"/>
                          <a:gd name="connsiteX3" fmla="*/ 0 w 2600960"/>
                          <a:gd name="connsiteY3" fmla="*/ 1341120 h 1341120"/>
                          <a:gd name="connsiteX4" fmla="*/ 0 w 2600960"/>
                          <a:gd name="connsiteY4" fmla="*/ 0 h 13411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600960" h="1341120">
                            <a:moveTo>
                              <a:pt x="0" y="0"/>
                            </a:moveTo>
                            <a:lnTo>
                              <a:pt x="2600960" y="0"/>
                            </a:lnTo>
                            <a:lnTo>
                              <a:pt x="2600960" y="1341120"/>
                            </a:lnTo>
                            <a:lnTo>
                              <a:pt x="0" y="134112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>
                        <a:noFill/>
                      </a:ln>
                      <a:sp3d/>
                    </p:spPr>
                    <p:style>
                      <a:lnRef idx="2">
                        <a:scrgbClr r="0" g="0" b="0"/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b" anchorCtr="0">
                        <a:noAutofit/>
                      </a:bodyPr>
                      <a:lstStyle/>
                      <a:p>
                        <a:pPr marL="0" lvl="0" indent="0" algn="ctr" defTabSz="2889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6500" kern="1200"/>
                      </a:p>
                    </p:txBody>
                  </p:sp>
                  <p:sp>
                    <p:nvSpPr>
                      <p:cNvPr id="14" name="Freeform: Shape 13">
                        <a:extLst>
                          <a:ext uri="{FF2B5EF4-FFF2-40B4-BE49-F238E27FC236}">
                            <a16:creationId xmlns:a16="http://schemas.microsoft.com/office/drawing/2014/main" id="{05693404-00D0-3B3C-F0B5-C72BE3AD63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13969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6" name="Freeform: Shape 15">
                        <a:extLst>
                          <a:ext uri="{FF2B5EF4-FFF2-40B4-BE49-F238E27FC236}">
                            <a16:creationId xmlns:a16="http://schemas.microsoft.com/office/drawing/2014/main" id="{2A7FFA9D-E2C2-9AC6-1A55-261ECCF36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01404" y="2819399"/>
                        <a:ext cx="199136" cy="1219200"/>
                      </a:xfrm>
                      <a:custGeom>
                        <a:avLst/>
                        <a:gdLst>
                          <a:gd name="connsiteX0" fmla="*/ 0 w 199136"/>
                          <a:gd name="connsiteY0" fmla="*/ 0 h 1219200"/>
                          <a:gd name="connsiteX1" fmla="*/ 199136 w 199136"/>
                          <a:gd name="connsiteY1" fmla="*/ 0 h 1219200"/>
                          <a:gd name="connsiteX2" fmla="*/ 199136 w 199136"/>
                          <a:gd name="connsiteY2" fmla="*/ 1219200 h 1219200"/>
                          <a:gd name="connsiteX3" fmla="*/ 0 w 199136"/>
                          <a:gd name="connsiteY3" fmla="*/ 1219200 h 1219200"/>
                          <a:gd name="connsiteX4" fmla="*/ 0 w 199136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9136" h="1219200">
                            <a:moveTo>
                              <a:pt x="0" y="0"/>
                            </a:moveTo>
                            <a:lnTo>
                              <a:pt x="199136" y="0"/>
                            </a:lnTo>
                            <a:lnTo>
                              <a:pt x="199136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8" name="Freeform: Shape 17">
                        <a:extLst>
                          <a:ext uri="{FF2B5EF4-FFF2-40B4-BE49-F238E27FC236}">
                            <a16:creationId xmlns:a16="http://schemas.microsoft.com/office/drawing/2014/main" id="{E8BC8315-A4D0-95AE-D483-72DB92F263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42417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</p:grpSp>
                <p:grpSp>
                  <p:nvGrpSpPr>
                    <p:cNvPr id="27" name="Group 26">
                      <a:extLst>
                        <a:ext uri="{FF2B5EF4-FFF2-40B4-BE49-F238E27FC236}">
                          <a16:creationId xmlns:a16="http://schemas.microsoft.com/office/drawing/2014/main" id="{8F4843D0-5541-3644-C0DA-1C03468DC4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552120" y="1628800"/>
                      <a:ext cx="3224400" cy="705116"/>
                      <a:chOff x="7552120" y="1628800"/>
                      <a:chExt cx="3224400" cy="705116"/>
                    </a:xfrm>
                  </p:grpSpPr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3695CCFD-3258-6390-62E5-EE5992D7CA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552120" y="1628800"/>
                        <a:ext cx="3224400" cy="705116"/>
                      </a:xfrm>
                      <a:prstGeom prst="rect">
                        <a:avLst/>
                      </a:prstGeom>
                      <a:solidFill>
                        <a:srgbClr val="C5DE8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>
                          <a:spcBef>
                            <a:spcPts val="600"/>
                          </a:spcBef>
                        </a:pPr>
                        <a:endParaRPr lang="en-IN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24" name="TextBox 23">
                        <a:extLst>
                          <a:ext uri="{FF2B5EF4-FFF2-40B4-BE49-F238E27FC236}">
                            <a16:creationId xmlns:a16="http://schemas.microsoft.com/office/drawing/2014/main" id="{83D4EDCE-BED2-B183-4F75-BEF0092186D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8137336" y="1863451"/>
                        <a:ext cx="2258162" cy="2358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noAutofit/>
                      </a:bodyPr>
                      <a:lstStyle/>
                      <a:p>
                        <a:pPr>
                          <a:buClr>
                            <a:srgbClr val="97C139"/>
                          </a:buClr>
                        </a:pPr>
                        <a:r>
                          <a:rPr lang="en-US" sz="1800" b="1" dirty="0"/>
                          <a:t>Electrical Insulation</a:t>
                        </a:r>
                        <a:endParaRPr lang="en-IN" sz="1800" dirty="0" err="1"/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E8376C21-7528-8B82-8C0E-4AEAE257ABF3}"/>
                      </a:ext>
                    </a:extLst>
                  </p:cNvPr>
                  <p:cNvGrpSpPr/>
                  <p:nvPr/>
                </p:nvGrpSpPr>
                <p:grpSpPr>
                  <a:xfrm>
                    <a:off x="7045787" y="2741549"/>
                    <a:ext cx="3262660" cy="705116"/>
                    <a:chOff x="7045787" y="2741549"/>
                    <a:chExt cx="3262660" cy="705116"/>
                  </a:xfrm>
                </p:grpSpPr>
                <p:sp>
                  <p:nvSpPr>
                    <p:cNvPr id="20" name="Rectangle 19">
                      <a:extLst>
                        <a:ext uri="{FF2B5EF4-FFF2-40B4-BE49-F238E27FC236}">
                          <a16:creationId xmlns:a16="http://schemas.microsoft.com/office/drawing/2014/main" id="{ADD4F0E8-19C7-0B88-8F4F-5CDC71DC25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5787" y="2741549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237868A7-411A-63F3-16CB-80DC6E6265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00135" y="2925901"/>
                      <a:ext cx="2808312" cy="38809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Thermal Management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CF9561CA-D27B-CED5-A920-341000481EEF}"/>
                    </a:ext>
                  </a:extLst>
                </p:cNvPr>
                <p:cNvGrpSpPr/>
                <p:nvPr/>
              </p:nvGrpSpPr>
              <p:grpSpPr>
                <a:xfrm>
                  <a:off x="7562889" y="3856073"/>
                  <a:ext cx="3224400" cy="705116"/>
                  <a:chOff x="7562889" y="3856073"/>
                  <a:chExt cx="3224400" cy="705116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B2BD604F-1259-2047-5A6A-0057E9C6F6A4}"/>
                      </a:ext>
                    </a:extLst>
                  </p:cNvPr>
                  <p:cNvSpPr/>
                  <p:nvPr/>
                </p:nvSpPr>
                <p:spPr>
                  <a:xfrm>
                    <a:off x="7562889" y="3856073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6357E188-0FB3-D5F8-2238-358831F174B2}"/>
                      </a:ext>
                    </a:extLst>
                  </p:cNvPr>
                  <p:cNvSpPr txBox="1"/>
                  <p:nvPr/>
                </p:nvSpPr>
                <p:spPr>
                  <a:xfrm>
                    <a:off x="8207643" y="4047251"/>
                    <a:ext cx="1884273" cy="38572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Wear Resistance</a:t>
                    </a:r>
                    <a:endParaRPr lang="en-IN" sz="1800" b="1" dirty="0" err="1"/>
                  </a:p>
                </p:txBody>
              </p:sp>
            </p:grp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2175600" y="5739028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Slot Insulation in a stator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266" y="2477779"/>
              <a:ext cx="2229290" cy="1947264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75B617E-85E8-EEB1-09C6-F96B45508412}"/>
              </a:ext>
            </a:extLst>
          </p:cNvPr>
          <p:cNvSpPr txBox="1"/>
          <p:nvPr/>
        </p:nvSpPr>
        <p:spPr>
          <a:xfrm>
            <a:off x="4516481" y="4429735"/>
            <a:ext cx="3463972" cy="372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200" dirty="0"/>
              <a:t>. GMW CS-5E Horizontal Slot Cell Inserter [4]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1810" y="2270218"/>
              <a:ext cx="2016224" cy="218433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20D5579-814E-EF36-C0C8-F549DDC0B92D}"/>
              </a:ext>
            </a:extLst>
          </p:cNvPr>
          <p:cNvSpPr txBox="1"/>
          <p:nvPr/>
        </p:nvSpPr>
        <p:spPr>
          <a:xfrm>
            <a:off x="9984432" y="6045306"/>
            <a:ext cx="1662612" cy="254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*AI generated image</a:t>
            </a:r>
            <a:endParaRPr lang="en-IN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77AE3E-0FCC-188A-6FDF-8BF3450A2DB7}"/>
              </a:ext>
            </a:extLst>
          </p:cNvPr>
          <p:cNvSpPr txBox="1"/>
          <p:nvPr/>
        </p:nvSpPr>
        <p:spPr>
          <a:xfrm>
            <a:off x="4957676" y="4653136"/>
            <a:ext cx="2952328" cy="218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manual insertion of 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6</TotalTime>
  <Words>2296</Words>
  <Application>Microsoft Office PowerPoint</Application>
  <PresentationFormat>Widescreen</PresentationFormat>
  <Paragraphs>258</Paragraphs>
  <Slides>24</Slides>
  <Notes>18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Workflow and Key Components of Developing a Parametric Tool for Slot Liner Insertion:</vt:lpstr>
      <vt:lpstr>Climate change and CO₂ emissions drive the need for sustainable mobility, leading to a rapid  rise in electric vehicle demand.</vt:lpstr>
      <vt:lpstr>Objective: To Develop a flexible insertion tool to automate slot-liner insertion in small-scale stator manufacturing</vt:lpstr>
      <vt:lpstr>Producing a stator requires a sequence of precise manufacturing steps, ensuring structural integrity, insulation, and electrical reliability.</vt:lpstr>
      <vt:lpstr>Why Slot liners are Important in Stator Manufacture:</vt:lpstr>
      <vt:lpstr>How slot liners are inserted in large scale manufacture such as in the automotive industry:</vt:lpstr>
      <vt:lpstr>How slot liners are inserted in small scale manufacture such as in aviation or naval industries:</vt:lpstr>
      <vt:lpstr>Proposed Automation Plan</vt:lpstr>
      <vt:lpstr>Robotic Module for Automated Insertion: UR10e Collaborative Robot, RG2 Gripper, and Force/Torque Sensor</vt:lpstr>
      <vt:lpstr>Mechanical Fixtures for Accurate Positioning of Stator, Slot Liner, and Funnel</vt:lpstr>
      <vt:lpstr>Key Parameters Considered for the Parametric Funnel Development:</vt:lpstr>
      <vt:lpstr>Initial Funnel Design: Parametric Geometry and Guiding Mechanism for Slot Liner Insertion.</vt:lpstr>
      <vt:lpstr>Observations and Limitations of the Initial prototype.</vt:lpstr>
      <vt:lpstr>Final Design Development: Addressing the Shortcomings of the Initial Funnel Design</vt:lpstr>
      <vt:lpstr>Insertion Pipeline: Complete Automation of Stator Slot Insulation.</vt:lpstr>
      <vt:lpstr>Funnel Validation: Evaluation Using Stators of Differing Geometries</vt:lpstr>
      <vt:lpstr>Performance Evaluation: Testing Results for All Three Stator Geometries.</vt:lpstr>
      <vt:lpstr>Error Analysis: Comparative Observations for the Three Stator Geometries.</vt:lpstr>
      <vt:lpstr>Discussion of Results: Insights and Areas for Further Improvement</vt:lpstr>
      <vt:lpstr>References</vt:lpstr>
      <vt:lpstr>PowerPoint Presentation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29</cp:revision>
  <dcterms:created xsi:type="dcterms:W3CDTF">2025-04-15T08:38:21Z</dcterms:created>
  <dcterms:modified xsi:type="dcterms:W3CDTF">2025-10-13T08:53:54Z</dcterms:modified>
</cp:coreProperties>
</file>